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slideLayouts/slideLayout1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Masters/slideMaster19.xml" ContentType="application/vnd.openxmlformats-officedocument.presentationml.slideMaster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71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8.xml" ContentType="application/vnd.openxmlformats-officedocument.theme+xml"/>
  <Override PartName="/ppt/tableStyles.xml" ContentType="application/vnd.openxmlformats-officedocument.presentationml.tableStyles+xml"/>
  <Override PartName="/ppt/slideLayouts/slideLayout102.xml" ContentType="application/vnd.openxmlformats-officedocument.presentationml.slideLayout+xml"/>
  <Override PartName="/ppt/tags/tag16.xml" ContentType="application/vnd.openxmlformats-officedocument.presentationml.tags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Layouts/slideLayout225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21.xml" ContentType="application/vnd.openxmlformats-officedocument.theme+xml"/>
  <Override PartName="/ppt/notesSlides/notesSlide7.xml" ContentType="application/vnd.openxmlformats-officedocument.presentationml.notesSlide+xml"/>
  <Override PartName="/ppt/slideLayouts/slideLayout8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0.xml" ContentType="application/vnd.openxmlformats-officedocument.theme+xml"/>
  <Override PartName="/ppt/slideLayouts/slideLayout187.xml" ContentType="application/vnd.openxmlformats-officedocument.presentationml.slideLayout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65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ags/tag5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219.xml" ContentType="application/vnd.openxmlformats-officedocument.presentationml.slideLayout+xml"/>
  <Override PartName="/docProps/app.xml" ContentType="application/vnd.openxmlformats-officedocument.extended-properties+xml"/>
  <Override PartName="/ppt/slideLayouts/slideLayout21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15.xml" ContentType="application/vnd.openxmlformats-officedocument.theme+xml"/>
  <Override PartName="/ppt/tags/tag13.xml" ContentType="application/vnd.openxmlformats-officedocument.presentationml.tags+xml"/>
  <Override PartName="/ppt/slideLayouts/slideLayout222.xml" ContentType="application/vnd.openxmlformats-officedocument.presentationml.slideLayout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159.xml" ContentType="application/vnd.openxmlformats-officedocument.presentationml.slideLayout+xml"/>
  <Override PartName="/ppt/slideLayouts/slideLayout211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16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slideLayouts/slideLayout227.xml" ContentType="application/vnd.openxmlformats-officedocument.presentationml.slideLayout+xml"/>
  <Override PartName="/ppt/slideMasters/slideMaster13.xml" ContentType="application/vnd.openxmlformats-officedocument.presentationml.slideMaster+xml"/>
  <Override PartName="/ppt/slideLayouts/slideLayout20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23.xml" ContentType="application/vnd.openxmlformats-officedocument.theme+xml"/>
  <Override PartName="/ppt/notesSlides/notesSlide9.xml" ContentType="application/vnd.openxmlformats-officedocument.presentationml.notesSlide+xml"/>
  <Override PartName="/ppt/slideLayouts/slideLayout89.xml" ContentType="application/vnd.openxmlformats-officedocument.presentationml.slideLayout+xml"/>
  <Override PartName="/ppt/theme/theme12.xml" ContentType="application/vnd.openxmlformats-officedocument.theme+xml"/>
  <Override PartName="/ppt/slideLayouts/slideLayout189.xml" ContentType="application/vnd.openxmlformats-officedocument.presentationml.slideLayou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78.xml" ContentType="application/vnd.openxmlformats-officedocument.presentationml.slideLayout+xml"/>
  <Override PartName="/ppt/tags/tag10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ags/tag7.xml" ContentType="application/vnd.openxmlformats-officedocument.presentationml.tags+xml"/>
  <Override PartName="/ppt/slideLayouts/slideLayout15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85.xml" ContentType="application/vnd.openxmlformats-officedocument.presentationml.slideLayout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Masters/slideMaster18.xml" ContentType="application/vnd.openxmlformats-officedocument.presentationml.slideMaster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81.xml" ContentType="application/vnd.openxmlformats-officedocument.presentationml.slideLayout+xml"/>
  <Default Extension="jpeg" ContentType="image/jpeg"/>
  <Override PartName="/ppt/slideLayouts/slideLayout92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ags/tag3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4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70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Masters/slideMaster14.xml" ContentType="application/vnd.openxmlformats-officedocument.presentationml.slideMaster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7.xml" ContentType="application/vnd.openxmlformats-officedocument.theme+xml"/>
  <Override PartName="/ppt/slideLayouts/slideLayout217.xml" ContentType="application/vnd.openxmlformats-officedocument.presentationml.slideLayout+xml"/>
  <Override PartName="/ppt/slideMasters/slideMaster21.xml" ContentType="application/vnd.openxmlformats-officedocument.presentationml.slideMaster+xml"/>
  <Override PartName="/ppt/tags/tag15.xml" ContentType="application/vnd.openxmlformats-officedocument.presentationml.tags+xml"/>
  <Override PartName="/ppt/slideLayouts/slideLayout206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24.xml" ContentType="application/vnd.openxmlformats-officedocument.theme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heme/theme9.xml" ContentType="application/vnd.openxmlformats-officedocument.theme+xml"/>
  <Override PartName="/ppt/theme/theme13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213.xml" ContentType="application/vnd.openxmlformats-officedocument.presentationml.slideLayout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ags/tag11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202.xml" ContentType="application/vnd.openxmlformats-officedocument.presentationml.slideLayout+xml"/>
  <Override PartName="/ppt/theme/theme20.xml" ContentType="application/vnd.openxmlformats-officedocument.theme+xml"/>
  <Override PartName="/ppt/slideLayouts/slideLayout220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164.xml" ContentType="application/vnd.openxmlformats-officedocument.presentationml.slideLayout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18.xml" ContentType="application/vnd.openxmlformats-officedocument.presentationml.slideLayout+xml"/>
  <Override PartName="/docProps/custom.xml" ContentType="application/vnd.openxmlformats-officedocument.custom-properties+xml"/>
  <Override PartName="/ppt/theme/theme14.xml" ContentType="application/vnd.openxmlformats-officedocument.theme+xml"/>
  <Override PartName="/ppt/tags/tag12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58.xml" ContentType="application/vnd.openxmlformats-officedocument.presentationml.slideLayout+xml"/>
  <Default Extension="bin" ContentType="application/vnd.openxmlformats-officedocument.oleObject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0.xml" ContentType="application/vnd.openxmlformats-officedocument.presentationml.slideLayout+xml"/>
  <Override PartName="/ppt/theme/theme19.xml" ContentType="application/vnd.openxmlformats-officedocument.theme+xml"/>
  <Override PartName="/ppt/slideLayouts/slideLayout50.xml" ContentType="application/vnd.openxmlformats-officedocument.presentationml.slideLayout+xml"/>
  <Override PartName="/ppt/tags/tag17.xml" ContentType="application/vnd.openxmlformats-officedocument.presentationml.tags+xml"/>
  <Override PartName="/ppt/slideLayouts/slideLayout226.xml" ContentType="application/vnd.openxmlformats-officedocument.presentationml.slideLayout+xml"/>
  <Default Extension="wdp" ContentType="image/vnd.ms-photo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Default Extension="vml" ContentType="application/vnd.openxmlformats-officedocument.vmlDrawing"/>
  <Override PartName="/ppt/slideLayouts/slideLayout215.xml" ContentType="application/vnd.openxmlformats-officedocument.presentationml.slideLayout+xml"/>
  <Default Extension="gif" ContentType="image/gif"/>
  <Override PartName="/ppt/notesSlides/notesSlide8.xml" ContentType="application/vnd.openxmlformats-officedocument.presentationml.notesSlide+xml"/>
  <Override PartName="/ppt/slideLayouts/slideLayout99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22.xml" ContentType="application/vnd.openxmlformats-officedocument.theme+xml"/>
  <Override PartName="/ppt/handoutMasters/handoutMaster1.xml" ContentType="application/vnd.openxmlformats-officedocument.presentationml.handoutMaster+xml"/>
  <Override PartName="/ppt/slideLayouts/slideLayout88.xml" ContentType="application/vnd.openxmlformats-officedocument.presentationml.slideLayout+xml"/>
  <Override PartName="/ppt/theme/theme11.xml" ContentType="application/vnd.openxmlformats-officedocument.theme+xml"/>
  <Override PartName="/ppt/tags/tag20.xml" ContentType="application/vnd.openxmlformats-officedocument.presentationml.tags+xml"/>
  <Override PartName="/ppt/slideLayouts/slideLayout177.xml" ContentType="application/vnd.openxmlformats-officedocument.presentationml.slideLayou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166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91.xml" ContentType="application/vnd.openxmlformats-officedocument.presentationml.slideLayout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slideLayouts/slideLayout100.xml" ContentType="application/vnd.openxmlformats-officedocument.presentationml.slideLayout+xml"/>
  <Override PartName="/ppt/tags/tag14.xml" ContentType="application/vnd.openxmlformats-officedocument.presentationml.tags+xml"/>
  <Override PartName="/ppt/slideMasters/slideMaster6.xml" ContentType="application/vnd.openxmlformats-officedocument.presentationml.slideMaster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slideLayouts/slideLayout223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notesSlides/notesSlide5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686" r:id="rId3"/>
    <p:sldMasterId id="2147483711" r:id="rId4"/>
    <p:sldMasterId id="2147483735" r:id="rId5"/>
    <p:sldMasterId id="2147483748" r:id="rId6"/>
    <p:sldMasterId id="2147483761" r:id="rId7"/>
    <p:sldMasterId id="2147483785" r:id="rId8"/>
    <p:sldMasterId id="2147483796" r:id="rId9"/>
    <p:sldMasterId id="2147483836" r:id="rId10"/>
    <p:sldMasterId id="2147483848" r:id="rId11"/>
    <p:sldMasterId id="2147483884" r:id="rId12"/>
    <p:sldMasterId id="2147483897" r:id="rId13"/>
    <p:sldMasterId id="2147483931" r:id="rId14"/>
    <p:sldMasterId id="2147483936" r:id="rId15"/>
    <p:sldMasterId id="2147483950" r:id="rId16"/>
    <p:sldMasterId id="2147483962" r:id="rId17"/>
    <p:sldMasterId id="2147483965" r:id="rId18"/>
    <p:sldMasterId id="2147483978" r:id="rId19"/>
    <p:sldMasterId id="2147483990" r:id="rId20"/>
    <p:sldMasterId id="2147484015" r:id="rId21"/>
    <p:sldMasterId id="2147484029" r:id="rId22"/>
  </p:sldMasterIdLst>
  <p:notesMasterIdLst>
    <p:notesMasterId r:id="rId32"/>
  </p:notesMasterIdLst>
  <p:handoutMasterIdLst>
    <p:handoutMasterId r:id="rId33"/>
  </p:handoutMasterIdLst>
  <p:sldIdLst>
    <p:sldId id="585" r:id="rId23"/>
    <p:sldId id="601" r:id="rId24"/>
    <p:sldId id="600" r:id="rId25"/>
    <p:sldId id="598" r:id="rId26"/>
    <p:sldId id="599" r:id="rId27"/>
    <p:sldId id="591" r:id="rId28"/>
    <p:sldId id="592" r:id="rId29"/>
    <p:sldId id="574" r:id="rId30"/>
    <p:sldId id="589" r:id="rId31"/>
  </p:sldIdLst>
  <p:sldSz cx="9144000" cy="6858000" type="screen4x3"/>
  <p:notesSz cx="6810375" cy="99425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14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29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43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58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5725" algn="l" defTabSz="91429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2870" algn="l" defTabSz="91429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016" algn="l" defTabSz="91429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162" algn="l" defTabSz="91429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1B5C21"/>
    <a:srgbClr val="000000"/>
    <a:srgbClr val="D63700"/>
    <a:srgbClr val="001548"/>
    <a:srgbClr val="1658D0"/>
    <a:srgbClr val="4682BA"/>
    <a:srgbClr val="BCBCBC"/>
    <a:srgbClr val="3257A7"/>
    <a:srgbClr val="E46C0A"/>
    <a:srgbClr val="BFBFB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howOutlineIcons="0" preferSingleView="1">
    <p:restoredLeft sz="17323" autoAdjust="0"/>
    <p:restoredTop sz="94542" autoAdjust="0"/>
  </p:normalViewPr>
  <p:slideViewPr>
    <p:cSldViewPr>
      <p:cViewPr>
        <p:scale>
          <a:sx n="100" d="100"/>
          <a:sy n="100" d="100"/>
        </p:scale>
        <p:origin x="-816" y="-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00" d="100"/>
          <a:sy n="100" d="100"/>
        </p:scale>
        <p:origin x="-1566" y="2730"/>
      </p:cViewPr>
      <p:guideLst>
        <p:guide orient="horz" pos="3132"/>
        <p:guide pos="2144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4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3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2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1.xml"/><Relationship Id="rId28" Type="http://schemas.openxmlformats.org/officeDocument/2006/relationships/slide" Target="slides/slide6.xml"/><Relationship Id="rId36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5.xml"/><Relationship Id="rId30" Type="http://schemas.openxmlformats.org/officeDocument/2006/relationships/slide" Target="slides/slide8.xml"/><Relationship Id="rId35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7625" y="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53E96C-CBDB-41AA-9D3E-1DC1F8D67983}" type="datetimeFigureOut">
              <a:rPr lang="en-US" smtClean="0"/>
              <a:pPr/>
              <a:t>10/14/201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511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7625" y="9444038"/>
            <a:ext cx="29511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2E77F6-7478-481D-87F6-39F97A0CFB69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c" descr="Company Confidential"/>
          <p:cNvSpPr txBox="1"/>
          <p:nvPr/>
        </p:nvSpPr>
        <p:spPr>
          <a:xfrm>
            <a:off x="0" y="9726613"/>
            <a:ext cx="6810375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1000" b="1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55166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163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7637" y="0"/>
            <a:ext cx="2951163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441230C2-4AF1-4F17-A63F-7FBE378D079D}" type="datetimeFigureOut">
              <a:rPr lang="en-US"/>
              <a:pPr>
                <a:defRPr/>
              </a:pPr>
              <a:t>10/14/2011</a:t>
            </a:fld>
            <a:endParaRPr lang="en-US"/>
          </a:p>
        </p:txBody>
      </p:sp>
      <p:sp>
        <p:nvSpPr>
          <p:cNvPr id="133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6125"/>
            <a:ext cx="4973637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38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22695"/>
            <a:ext cx="5448300" cy="4474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3662"/>
            <a:ext cx="2951163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9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7637" y="9443662"/>
            <a:ext cx="2951163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D2C0AA65-BFC4-4582-B610-4D80409F9CE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9726613"/>
            <a:ext cx="6810375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1387270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14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29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43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58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5725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70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16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162" algn="l" defTabSz="91429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arketingprofs.com/topic/all/forecasts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Relationship Id="rId4" Type="http://schemas.openxmlformats.org/officeDocument/2006/relationships/hyperlink" Target="http://www-03.ibm.com/press/us/en/pressrelease/31670.wss" TargetMode="Externa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73637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C0AA65-BFC4-4582-B610-4D80409F9CE3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2405066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73637" cy="3729038"/>
          </a:xfrm>
        </p:spPr>
      </p:sp>
      <p:sp>
        <p:nvSpPr>
          <p:cNvPr id="4" name="Notes Placeholder 3"/>
          <p:cNvSpPr>
            <a:spLocks noGrp="1"/>
          </p:cNvSpPr>
          <p:nvPr>
            <p:ph type="body" idx="1"/>
          </p:nvPr>
        </p:nvSpPr>
        <p:spPr>
          <a:xfrm>
            <a:off x="909336" y="4737315"/>
            <a:ext cx="4991704" cy="2972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Many CEOs are doubtful their companies can handle a volatile, increasingly complex business environment: 79% </a:t>
            </a:r>
            <a:r>
              <a:rPr lang="en-US" dirty="0">
                <a:hlinkClick r:id="rId3"/>
              </a:rPr>
              <a:t>expect</a:t>
            </a:r>
            <a:r>
              <a:rPr lang="en-US" dirty="0"/>
              <a:t> high or very high levels of business complexity over the next five years, and only 49% say their organizations are fully prepared to deal with that increased complexity, </a:t>
            </a:r>
            <a:r>
              <a:rPr lang="en-US" dirty="0">
                <a:hlinkClick r:id="rId4"/>
              </a:rPr>
              <a:t>according to</a:t>
            </a:r>
            <a:r>
              <a:rPr lang="en-US" dirty="0"/>
              <a:t> a study by IBM.</a:t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To cope with those changing business realities, most CEOs plan to focus both on developing new revenue sources and stronger customer relationships over the next five years. </a:t>
            </a:r>
          </a:p>
          <a:p>
            <a:r>
              <a:rPr lang="en-US" dirty="0"/>
              <a:t>Below, other findings from the biennial IBM Global CEO Study, based on interviews with 1,541 CEOs, general managers, and senior public-sector leaders from 60 countries and 33 industries.</a:t>
            </a:r>
          </a:p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C0AA65-BFC4-4582-B610-4D80409F9CE3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14387" y="4895056"/>
            <a:ext cx="5281612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2639440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73637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ﬁnitions of innovation and the </a:t>
            </a:r>
            <a:r>
              <a:rPr lang="en-US" dirty="0" smtClean="0"/>
              <a:t>impact of </a:t>
            </a:r>
            <a:r>
              <a:rPr lang="en-US" dirty="0"/>
              <a:t>innovation on business performance</a:t>
            </a:r>
            <a:br>
              <a:rPr lang="en-US" dirty="0"/>
            </a:br>
            <a:r>
              <a:rPr lang="en-US" dirty="0"/>
              <a:t>In reviewing the literature on innovation, </a:t>
            </a:r>
            <a:r>
              <a:rPr lang="en-US" dirty="0" smtClean="0"/>
              <a:t>various deﬁnitions </a:t>
            </a:r>
            <a:r>
              <a:rPr lang="en-US" dirty="0"/>
              <a:t>emerge highlighting different </a:t>
            </a:r>
            <a:r>
              <a:rPr lang="en-US" dirty="0" smtClean="0"/>
              <a:t>dimensions </a:t>
            </a:r>
            <a:r>
              <a:rPr lang="en-US" dirty="0"/>
              <a:t>of innovation </a:t>
            </a:r>
            <a:r>
              <a:rPr lang="en-US" dirty="0" smtClean="0"/>
              <a:t>performance. </a:t>
            </a:r>
          </a:p>
          <a:p>
            <a:r>
              <a:rPr lang="en-US" dirty="0" smtClean="0"/>
              <a:t>The </a:t>
            </a:r>
            <a:r>
              <a:rPr lang="en-US" dirty="0"/>
              <a:t>most commonly held concept </a:t>
            </a:r>
            <a:r>
              <a:rPr lang="en-US" dirty="0" smtClean="0"/>
              <a:t>of innovation </a:t>
            </a:r>
            <a:r>
              <a:rPr lang="en-US" dirty="0"/>
              <a:t>performance refers to the newness </a:t>
            </a:r>
            <a:r>
              <a:rPr lang="en-US" dirty="0" smtClean="0"/>
              <a:t>and novelty </a:t>
            </a:r>
            <a:r>
              <a:rPr lang="en-US" dirty="0"/>
              <a:t>of products or processes which has </a:t>
            </a:r>
            <a:r>
              <a:rPr lang="en-US" dirty="0" smtClean="0"/>
              <a:t>been adopted </a:t>
            </a:r>
            <a:r>
              <a:rPr lang="en-US" dirty="0"/>
              <a:t>in several </a:t>
            </a:r>
            <a:r>
              <a:rPr lang="en-US" dirty="0" smtClean="0"/>
              <a:t>studies.  </a:t>
            </a:r>
          </a:p>
          <a:p>
            <a:r>
              <a:rPr lang="en-US" dirty="0" smtClean="0"/>
              <a:t>The second dimension </a:t>
            </a:r>
            <a:r>
              <a:rPr lang="en-US" dirty="0"/>
              <a:t>of innovation is related to the speed </a:t>
            </a:r>
            <a:r>
              <a:rPr lang="en-US" dirty="0" smtClean="0"/>
              <a:t>of innovation </a:t>
            </a:r>
            <a:r>
              <a:rPr lang="en-US" dirty="0"/>
              <a:t>which has been interpreted in two </a:t>
            </a:r>
            <a:r>
              <a:rPr lang="en-US" dirty="0" smtClean="0"/>
              <a:t>different </a:t>
            </a:r>
            <a:r>
              <a:rPr lang="en-US" dirty="0"/>
              <a:t>ways. First, speed refers to the lead </a:t>
            </a:r>
            <a:r>
              <a:rPr lang="en-US" dirty="0" smtClean="0"/>
              <a:t>time required </a:t>
            </a:r>
            <a:r>
              <a:rPr lang="en-US" dirty="0"/>
              <a:t>for developing and introducing new </a:t>
            </a:r>
            <a:r>
              <a:rPr lang="en-US" dirty="0" smtClean="0"/>
              <a:t>products. In </a:t>
            </a:r>
            <a:r>
              <a:rPr lang="en-US" dirty="0"/>
              <a:t>a world of </a:t>
            </a:r>
            <a:r>
              <a:rPr lang="en-US" dirty="0" smtClean="0"/>
              <a:t>shortening </a:t>
            </a:r>
            <a:r>
              <a:rPr lang="en-US" dirty="0"/>
              <a:t>product life cycles where the life of a </a:t>
            </a:r>
            <a:r>
              <a:rPr lang="en-US" dirty="0" smtClean="0"/>
              <a:t>particular product </a:t>
            </a:r>
            <a:r>
              <a:rPr lang="en-US" dirty="0"/>
              <a:t>can be measured in months, the c</a:t>
            </a:r>
            <a:r>
              <a:rPr lang="en-US" dirty="0" smtClean="0"/>
              <a:t>apability to </a:t>
            </a:r>
            <a:r>
              <a:rPr lang="en-US" dirty="0"/>
              <a:t>replace products frequently with better </a:t>
            </a:r>
            <a:r>
              <a:rPr lang="en-US" dirty="0" smtClean="0"/>
              <a:t>versions is </a:t>
            </a:r>
            <a:r>
              <a:rPr lang="en-US" dirty="0"/>
              <a:t>increasingly important. This produces a </a:t>
            </a:r>
            <a:r>
              <a:rPr lang="en-US" dirty="0" smtClean="0"/>
              <a:t>growing pressure </a:t>
            </a:r>
            <a:r>
              <a:rPr lang="en-US" dirty="0"/>
              <a:t>on ﬁrms not just to introduce new </a:t>
            </a:r>
            <a:r>
              <a:rPr lang="en-US" dirty="0" smtClean="0"/>
              <a:t>products</a:t>
            </a:r>
            <a:r>
              <a:rPr lang="en-US" dirty="0"/>
              <a:t>, but to do so faster than their competitors</a:t>
            </a:r>
            <a:r>
              <a:rPr lang="en-US" dirty="0" smtClean="0"/>
              <a:t>. Second</a:t>
            </a:r>
            <a:r>
              <a:rPr lang="en-US" dirty="0"/>
              <a:t>, speed </a:t>
            </a:r>
            <a:r>
              <a:rPr lang="en-US" dirty="0" smtClean="0"/>
              <a:t>is also </a:t>
            </a:r>
            <a:r>
              <a:rPr lang="en-US" dirty="0"/>
              <a:t>associated with how early a ﬁrm adopts </a:t>
            </a:r>
            <a:r>
              <a:rPr lang="en-US" dirty="0" smtClean="0"/>
              <a:t>new technology </a:t>
            </a:r>
            <a:r>
              <a:rPr lang="en-US" dirty="0"/>
              <a:t>emerging in the industry. This </a:t>
            </a:r>
            <a:r>
              <a:rPr lang="en-US" dirty="0" smtClean="0"/>
              <a:t>deﬁnition </a:t>
            </a:r>
            <a:r>
              <a:rPr lang="en-US" dirty="0"/>
              <a:t>is based on the ﬁve categories of </a:t>
            </a:r>
            <a:r>
              <a:rPr lang="en-US" dirty="0" smtClean="0"/>
              <a:t>innovators developed </a:t>
            </a:r>
            <a:r>
              <a:rPr lang="en-US" dirty="0"/>
              <a:t>by Rogers (1983), namely innovators</a:t>
            </a:r>
            <a:r>
              <a:rPr lang="en-US" dirty="0" smtClean="0"/>
              <a:t>, early </a:t>
            </a:r>
            <a:r>
              <a:rPr lang="en-US" dirty="0"/>
              <a:t>adopters, early majority, late adopters </a:t>
            </a:r>
            <a:r>
              <a:rPr lang="en-US" dirty="0" smtClean="0"/>
              <a:t>and laggards</a:t>
            </a:r>
            <a:r>
              <a:rPr lang="en-US" dirty="0"/>
              <a:t>. The early adopters of innovation </a:t>
            </a:r>
            <a:r>
              <a:rPr lang="en-US" dirty="0" smtClean="0"/>
              <a:t>would have </a:t>
            </a:r>
            <a:r>
              <a:rPr lang="en-US" dirty="0"/>
              <a:t>more signiﬁcant beneﬁts from the </a:t>
            </a:r>
            <a:r>
              <a:rPr lang="en-US" dirty="0" smtClean="0"/>
              <a:t>innovation albeit </a:t>
            </a:r>
            <a:r>
              <a:rPr lang="en-US" dirty="0"/>
              <a:t>facing a higher degree of risk</a:t>
            </a:r>
            <a:r>
              <a:rPr lang="en-US" dirty="0" smtClean="0"/>
              <a:t>. </a:t>
            </a:r>
          </a:p>
          <a:p>
            <a:r>
              <a:rPr lang="en-US" dirty="0" smtClean="0"/>
              <a:t>The </a:t>
            </a:r>
            <a:r>
              <a:rPr lang="en-US" dirty="0"/>
              <a:t>third dimension of </a:t>
            </a:r>
            <a:r>
              <a:rPr lang="en-US" dirty="0" smtClean="0"/>
              <a:t>Innovation </a:t>
            </a:r>
            <a:r>
              <a:rPr lang="en-US" dirty="0"/>
              <a:t>is </a:t>
            </a:r>
            <a:r>
              <a:rPr lang="en-US" dirty="0" smtClean="0"/>
              <a:t>concerned with </a:t>
            </a:r>
            <a:r>
              <a:rPr lang="en-US" dirty="0"/>
              <a:t>the consistency and continuity of ﬁrms </a:t>
            </a:r>
            <a:r>
              <a:rPr lang="en-US" dirty="0" smtClean="0"/>
              <a:t>in innovating </a:t>
            </a:r>
            <a:r>
              <a:rPr lang="en-US" dirty="0"/>
              <a:t>over </a:t>
            </a:r>
            <a:r>
              <a:rPr lang="en-US" dirty="0" smtClean="0"/>
              <a:t>time. </a:t>
            </a:r>
            <a:r>
              <a:rPr lang="en-US" dirty="0"/>
              <a:t>Companies that are known as </a:t>
            </a:r>
            <a:r>
              <a:rPr lang="en-US" dirty="0" smtClean="0"/>
              <a:t>world-class </a:t>
            </a:r>
            <a:br>
              <a:rPr lang="en-US" dirty="0" smtClean="0"/>
            </a:br>
            <a:r>
              <a:rPr lang="en-US" dirty="0" smtClean="0"/>
              <a:t>product </a:t>
            </a:r>
            <a:r>
              <a:rPr lang="en-US" dirty="0"/>
              <a:t>innovators, in the main, focus on </a:t>
            </a:r>
            <a:r>
              <a:rPr lang="en-US" dirty="0" smtClean="0"/>
              <a:t>developing </a:t>
            </a:r>
            <a:r>
              <a:rPr lang="en-US" dirty="0"/>
              <a:t>new products, and do so without </a:t>
            </a:r>
            <a:r>
              <a:rPr lang="en-US" dirty="0" smtClean="0"/>
              <a:t>ignoring other </a:t>
            </a:r>
            <a:r>
              <a:rPr lang="en-US" dirty="0"/>
              <a:t>entry requirements for competition. As </a:t>
            </a:r>
            <a:r>
              <a:rPr lang="en-US" dirty="0" smtClean="0"/>
              <a:t>a result</a:t>
            </a:r>
            <a:r>
              <a:rPr lang="en-US" dirty="0"/>
              <a:t>, they consistently introduce new </a:t>
            </a:r>
            <a:r>
              <a:rPr lang="en-US" dirty="0" smtClean="0"/>
              <a:t>products into </a:t>
            </a:r>
            <a:r>
              <a:rPr lang="en-US" dirty="0"/>
              <a:t>the </a:t>
            </a:r>
            <a:r>
              <a:rPr lang="en-US" dirty="0" smtClean="0"/>
              <a:t>marketplace. </a:t>
            </a:r>
          </a:p>
          <a:p>
            <a:r>
              <a:rPr lang="en-US" dirty="0" smtClean="0"/>
              <a:t>The fourth dimension </a:t>
            </a:r>
            <a:r>
              <a:rPr lang="en-US" dirty="0"/>
              <a:t>of innovation refers to the strategy </a:t>
            </a:r>
            <a:r>
              <a:rPr lang="en-US" dirty="0" smtClean="0"/>
              <a:t>and capability </a:t>
            </a:r>
            <a:r>
              <a:rPr lang="en-US" dirty="0"/>
              <a:t>of ﬁrms to introduce new products in </a:t>
            </a:r>
            <a:r>
              <a:rPr lang="en-US" dirty="0" smtClean="0"/>
              <a:t>a new </a:t>
            </a:r>
            <a:r>
              <a:rPr lang="en-US" dirty="0"/>
              <a:t>market </a:t>
            </a:r>
            <a:r>
              <a:rPr lang="en-US" dirty="0" smtClean="0"/>
              <a:t>In certain </a:t>
            </a:r>
            <a:r>
              <a:rPr lang="en-US" dirty="0"/>
              <a:t>cases, these ﬁrms even strive to </a:t>
            </a:r>
            <a:r>
              <a:rPr lang="en-US" dirty="0" smtClean="0"/>
              <a:t>create new </a:t>
            </a:r>
            <a:r>
              <a:rPr lang="en-US" dirty="0"/>
              <a:t>markets, a strategy commonly based on </a:t>
            </a:r>
            <a:r>
              <a:rPr lang="en-US" dirty="0" smtClean="0"/>
              <a:t>the principle </a:t>
            </a:r>
            <a:r>
              <a:rPr lang="en-US" dirty="0"/>
              <a:t>of ‘ﬁrst-mover </a:t>
            </a:r>
            <a:r>
              <a:rPr lang="en-US" dirty="0" smtClean="0"/>
              <a:t>advantag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980677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73637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C0AA65-BFC4-4582-B610-4D80409F9CE3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1987" y="609537"/>
            <a:ext cx="5486400" cy="426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6921468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Purposes of building performance culture are also common across organizations</a:t>
            </a:r>
            <a:endParaRPr lang="en-US" dirty="0"/>
          </a:p>
          <a:p>
            <a:r>
              <a:rPr lang="en-US" dirty="0"/>
              <a:t>Source: McKinsey analysis</a:t>
            </a:r>
          </a:p>
          <a:p>
            <a:r>
              <a:rPr lang="en-US" b="1" dirty="0" smtClean="0"/>
              <a:t>Performance </a:t>
            </a:r>
            <a:r>
              <a:rPr lang="en-US" b="1" dirty="0"/>
              <a:t>culture</a:t>
            </a:r>
            <a:endParaRPr lang="en-US" dirty="0"/>
          </a:p>
          <a:p>
            <a:r>
              <a:rPr lang="en-US" b="1" dirty="0" smtClean="0"/>
              <a:t>Purpose</a:t>
            </a:r>
            <a:endParaRPr lang="en-US" dirty="0"/>
          </a:p>
          <a:p>
            <a:r>
              <a:rPr lang="en-US" b="1" dirty="0" smtClean="0"/>
              <a:t>Drive </a:t>
            </a:r>
            <a:r>
              <a:rPr lang="en-US" b="1" dirty="0"/>
              <a:t>company </a:t>
            </a:r>
            <a:r>
              <a:rPr lang="en-US" b="1" dirty="0" smtClean="0"/>
              <a:t>performance</a:t>
            </a:r>
            <a:endParaRPr lang="en-US" dirty="0"/>
          </a:p>
          <a:p>
            <a:r>
              <a:rPr lang="en-US" dirty="0" smtClean="0"/>
              <a:t>Ensure </a:t>
            </a:r>
            <a:r>
              <a:rPr lang="en-US" dirty="0"/>
              <a:t>every staff is performing to their highest </a:t>
            </a:r>
            <a:r>
              <a:rPr lang="en-US" dirty="0" smtClean="0"/>
              <a:t>level</a:t>
            </a:r>
          </a:p>
          <a:p>
            <a:r>
              <a:rPr lang="en-US" dirty="0" smtClean="0"/>
              <a:t>Set </a:t>
            </a:r>
            <a:r>
              <a:rPr lang="en-US" dirty="0"/>
              <a:t>alignment and develop momentum for the whole organization</a:t>
            </a:r>
          </a:p>
          <a:p>
            <a:r>
              <a:rPr lang="en-US" b="1" dirty="0"/>
              <a:t>Align stakeholders</a:t>
            </a:r>
            <a:endParaRPr lang="en-US" dirty="0"/>
          </a:p>
          <a:p>
            <a:r>
              <a:rPr lang="en-US" dirty="0"/>
              <a:t>Communicate consistent message to external stakeholders (e.g. regulators, investors, customers</a:t>
            </a:r>
            <a:endParaRPr lang="en-US" b="1" dirty="0"/>
          </a:p>
          <a:p>
            <a:r>
              <a:rPr lang="en-US" b="1" dirty="0" smtClean="0"/>
              <a:t>Accumulate </a:t>
            </a:r>
            <a:r>
              <a:rPr lang="en-US" b="1" dirty="0"/>
              <a:t>human </a:t>
            </a:r>
            <a:r>
              <a:rPr lang="en-US" b="1" dirty="0" smtClean="0"/>
              <a:t>capital</a:t>
            </a:r>
          </a:p>
          <a:p>
            <a:r>
              <a:rPr lang="en-US" dirty="0" smtClean="0"/>
              <a:t>Maintain </a:t>
            </a:r>
            <a:r>
              <a:rPr lang="en-US" dirty="0"/>
              <a:t>staff morale with sense of achievement and </a:t>
            </a:r>
            <a:r>
              <a:rPr lang="en-US" dirty="0" smtClean="0"/>
              <a:t>belonging</a:t>
            </a:r>
          </a:p>
          <a:p>
            <a:r>
              <a:rPr lang="en-US" dirty="0" smtClean="0"/>
              <a:t>Attract </a:t>
            </a:r>
            <a:r>
              <a:rPr lang="en-US" dirty="0"/>
              <a:t>new talent</a:t>
            </a:r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668939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73637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C0AA65-BFC4-4582-B610-4D80409F9CE3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921468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73637" cy="3729038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C0AA65-BFC4-4582-B610-4D80409F9CE3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878316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9163" y="746125"/>
            <a:ext cx="4973637" cy="37290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2C0AA65-BFC4-4582-B610-4D80409F9CE3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921468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17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Relationship Id="rId9" Type="http://schemas.openxmlformats.org/officeDocument/2006/relationships/image" Target="../media/image1.png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1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FFFFFF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7529149" y="3151321"/>
            <a:ext cx="1356946" cy="366713"/>
            <a:chOff x="5138" y="1985"/>
            <a:chExt cx="926" cy="231"/>
          </a:xfrm>
        </p:grpSpPr>
        <p:pic>
          <p:nvPicPr>
            <p:cNvPr id="6" name="Picture 6" descr="Logotype_White_33mm300dpi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5" y="2041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5138" y="1985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1450" y="1574873"/>
            <a:ext cx="6553200" cy="216852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1708" y="4029075"/>
            <a:ext cx="6553200" cy="1752600"/>
          </a:xfrm>
        </p:spPr>
        <p:txBody>
          <a:bodyPr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Nokia Large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540728" y="6524625"/>
            <a:ext cx="3909646" cy="1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FFFFFF"/>
                </a:solidFill>
              </a:rPr>
              <a:t>© 2008  Nokia 	 V1-Filename.ppt / YYYY-MM-DD / Initial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99295" y="6518275"/>
            <a:ext cx="344366" cy="1984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D08BE4F-9A6E-4965-AD38-C81F9D56DB5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33838753"/>
      </p:ext>
    </p:extLst>
  </p:cSld>
  <p:clrMapOvr>
    <a:masterClrMapping/>
  </p:clrMapOvr>
  <p:transition>
    <p:wipe dir="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08336A-F5EB-4DBD-A525-F2F3BA264B2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7311450"/>
      </p:ext>
    </p:extLst>
  </p:cSld>
  <p:clrMapOvr>
    <a:masterClrMapping/>
  </p:clrMapOvr>
  <p:transition>
    <p:wipe dir="d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83" y="1128713"/>
            <a:ext cx="4331677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134" y="1128713"/>
            <a:ext cx="4333143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DFB6B4F-BB75-41C0-8649-148DE98F8F8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7224210"/>
      </p:ext>
    </p:extLst>
  </p:cSld>
  <p:clrMapOvr>
    <a:masterClrMapping/>
  </p:clrMapOvr>
  <p:transition>
    <p:wipe dir="d"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6" y="1535115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6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0B30788-B8A6-4558-A86A-A0476F28F92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26867502"/>
      </p:ext>
    </p:extLst>
  </p:cSld>
  <p:clrMapOvr>
    <a:masterClrMapping/>
  </p:clrMapOvr>
  <p:transition>
    <p:wipe dir="d"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AA20005-0F82-4D38-8521-CC112620FBF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66014151"/>
      </p:ext>
    </p:extLst>
  </p:cSld>
  <p:clrMapOvr>
    <a:masterClrMapping/>
  </p:clrMapOvr>
  <p:transition>
    <p:wipe dir="d"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760D25C-36B4-49C5-9F9D-B06D6B8B89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76528071"/>
      </p:ext>
    </p:extLst>
  </p:cSld>
  <p:clrMapOvr>
    <a:masterClrMapping/>
  </p:clrMapOvr>
  <p:transition>
    <p:wipe dir="d"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303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1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476D6D2-3ECE-4309-8594-0998EBE6BF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9141112"/>
      </p:ext>
    </p:extLst>
  </p:cSld>
  <p:clrMapOvr>
    <a:masterClrMapping/>
  </p:clrMapOvr>
  <p:transition>
    <p:wipe dir="d"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1B4069F-00A7-4FEB-9EA9-CD0A643BBEA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52777856"/>
      </p:ext>
    </p:extLst>
  </p:cSld>
  <p:clrMapOvr>
    <a:masterClrMapping/>
  </p:clrMapOvr>
  <p:transition>
    <p:wipe dir="d"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8B860CF-94B3-4C87-93EF-E269D70703A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6274404"/>
      </p:ext>
    </p:extLst>
  </p:cSld>
  <p:clrMapOvr>
    <a:masterClrMapping/>
  </p:clrMapOvr>
  <p:transition>
    <p:wipe dir="d"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48"/>
            <a:ext cx="2202474" cy="6100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985" y="248"/>
            <a:ext cx="6471138" cy="6100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0E815C9-F8A4-4273-A8D8-F2A829F06CA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42527071"/>
      </p:ext>
    </p:extLst>
  </p:cSld>
  <p:clrMapOvr>
    <a:masterClrMapping/>
  </p:clrMapOvr>
  <p:transition>
    <p:wipe dir="d"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FFFFFF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7529149" y="3151305"/>
            <a:ext cx="1356946" cy="366713"/>
            <a:chOff x="5138" y="1985"/>
            <a:chExt cx="926" cy="231"/>
          </a:xfrm>
        </p:grpSpPr>
        <p:pic>
          <p:nvPicPr>
            <p:cNvPr id="6" name="Picture 6" descr="Logotype_White_33mm300dpi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5" y="2041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5138" y="1985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1450" y="1574829"/>
            <a:ext cx="6553200" cy="216852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1708" y="4029075"/>
            <a:ext cx="6553200" cy="1752600"/>
          </a:xfrm>
        </p:spPr>
        <p:txBody>
          <a:bodyPr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Nokia Large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540728" y="6524625"/>
            <a:ext cx="3909646" cy="1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FFFFFF"/>
                </a:solidFill>
              </a:rPr>
              <a:t>© 2008  Nokia 	 V1-Filename.ppt / YYYY-MM-DD / Initial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99295" y="6518275"/>
            <a:ext cx="344366" cy="1984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D08BE4F-9A6E-4965-AD38-C81F9D56DB5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8487454"/>
      </p:ext>
    </p:extLst>
  </p:cSld>
  <p:clrMapOvr>
    <a:masterClrMapping/>
  </p:clrMapOvr>
  <p:transition>
    <p:wipe dir="d"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B1926E-891F-47A9-81AD-187EE399270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58412691"/>
      </p:ext>
    </p:extLst>
  </p:cSld>
  <p:clrMapOvr>
    <a:masterClrMapping/>
  </p:clrMapOvr>
  <p:transition>
    <p:wipe dir="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66"/>
            <a:ext cx="2202474" cy="6100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985" y="66"/>
            <a:ext cx="6471138" cy="6100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F16F68-252E-4B4B-BC9A-516EC3207F7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0692949"/>
      </p:ext>
    </p:extLst>
  </p:cSld>
  <p:clrMapOvr>
    <a:masterClrMapping/>
  </p:clrMapOvr>
  <p:transition>
    <p:wipe dir="d"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9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0" indent="0">
              <a:buNone/>
              <a:defRPr sz="1400"/>
            </a:lvl5pPr>
            <a:lvl6pPr marL="2285725" indent="0">
              <a:buNone/>
              <a:defRPr sz="1400"/>
            </a:lvl6pPr>
            <a:lvl7pPr marL="2742870" indent="0">
              <a:buNone/>
              <a:defRPr sz="1400"/>
            </a:lvl7pPr>
            <a:lvl8pPr marL="3200016" indent="0">
              <a:buNone/>
              <a:defRPr sz="1400"/>
            </a:lvl8pPr>
            <a:lvl9pPr marL="365716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30BB63-E4E8-483F-9856-5E335B2245B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54552819"/>
      </p:ext>
    </p:extLst>
  </p:cSld>
  <p:clrMapOvr>
    <a:masterClrMapping/>
  </p:clrMapOvr>
  <p:transition>
    <p:wipe dir="d"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83" y="1128713"/>
            <a:ext cx="4331677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134" y="1128713"/>
            <a:ext cx="4333143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17431A-1427-413C-9CF1-FF50EC9C446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69740796"/>
      </p:ext>
    </p:extLst>
  </p:cSld>
  <p:clrMapOvr>
    <a:masterClrMapping/>
  </p:clrMapOvr>
  <p:transition>
    <p:wipe dir="d"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6" y="1535115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6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8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27AF2-1958-49AA-AC01-5291ED29192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9351620"/>
      </p:ext>
    </p:extLst>
  </p:cSld>
  <p:clrMapOvr>
    <a:masterClrMapping/>
  </p:clrMapOvr>
  <p:transition>
    <p:wipe dir="d"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5AE401-534B-40D1-BD08-403A50EF2D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9900626"/>
      </p:ext>
    </p:extLst>
  </p:cSld>
  <p:clrMapOvr>
    <a:masterClrMapping/>
  </p:clrMapOvr>
  <p:transition>
    <p:wipe dir="d"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0071D3-45F8-4D64-950E-1E865FCBEB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89192689"/>
      </p:ext>
    </p:extLst>
  </p:cSld>
  <p:clrMapOvr>
    <a:masterClrMapping/>
  </p:clrMapOvr>
  <p:transition>
    <p:wipe dir="d"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77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7" y="1435104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135C49-6EEE-469F-BDC2-90363C18DC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83394167"/>
      </p:ext>
    </p:extLst>
  </p:cSld>
  <p:clrMapOvr>
    <a:masterClrMapping/>
  </p:clrMapOvr>
  <p:transition>
    <p:wipe dir="d"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F4BA74-8AB9-461E-AC35-CCDE03D8B47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32705602"/>
      </p:ext>
    </p:extLst>
  </p:cSld>
  <p:clrMapOvr>
    <a:masterClrMapping/>
  </p:clrMapOvr>
  <p:transition>
    <p:wipe dir="d"/>
  </p:transition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08336A-F5EB-4DBD-A525-F2F3BA264B2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5429062"/>
      </p:ext>
    </p:extLst>
  </p:cSld>
  <p:clrMapOvr>
    <a:masterClrMapping/>
  </p:clrMapOvr>
  <p:transition>
    <p:wipe dir="d"/>
  </p:transition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"/>
            <a:ext cx="2202474" cy="6100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985" y="27"/>
            <a:ext cx="6471138" cy="6100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F16F68-252E-4B4B-BC9A-516EC3207F7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5787069"/>
      </p:ext>
    </p:extLst>
  </p:cSld>
  <p:clrMapOvr>
    <a:masterClrMapping/>
  </p:clrMapOvr>
  <p:transition>
    <p:wipe dir="d"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FFFFFF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7529149" y="3151281"/>
            <a:ext cx="1356946" cy="366713"/>
            <a:chOff x="5138" y="1985"/>
            <a:chExt cx="926" cy="231"/>
          </a:xfrm>
        </p:grpSpPr>
        <p:pic>
          <p:nvPicPr>
            <p:cNvPr id="6" name="Picture 6" descr="Logotype_White_33mm300dpi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5" y="2041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5138" y="1985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1450" y="1574838"/>
            <a:ext cx="6553200" cy="216852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1708" y="4029075"/>
            <a:ext cx="6553200" cy="1752600"/>
          </a:xfrm>
        </p:spPr>
        <p:txBody>
          <a:bodyPr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Nokia Large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540728" y="6524625"/>
            <a:ext cx="3909646" cy="1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FFFFFF"/>
                </a:solidFill>
              </a:rPr>
              <a:t>© 2008  Nokia 	 V1-Filename.ppt / YYYY-MM-DD / Initial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99295" y="6518275"/>
            <a:ext cx="344366" cy="1984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D08BE4F-9A6E-4965-AD38-C81F9D56DB5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92757761"/>
      </p:ext>
    </p:extLst>
  </p:cSld>
  <p:clrMapOvr>
    <a:masterClrMapping/>
  </p:clrMapOvr>
  <p:transition>
    <p:wipe dir="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780" y="66"/>
            <a:ext cx="8804031" cy="11287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78780" y="1128713"/>
            <a:ext cx="8805497" cy="49720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06622" y="6524625"/>
            <a:ext cx="3909646" cy="192088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</a:pPr>
            <a:r>
              <a:rPr lang="en-US" smtClean="0">
                <a:solidFill>
                  <a:srgbClr val="000000"/>
                </a:solidFill>
              </a:rPr>
              <a:t>© 2008  Nokia   V1-Filename.ppt / YYYY-MM-DD / Initials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1134924"/>
      </p:ext>
    </p:extLst>
  </p:cSld>
  <p:clrMapOvr>
    <a:masterClrMapping/>
  </p:clrMapOvr>
  <p:transition>
    <p:wipe dir="d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B1926E-891F-47A9-81AD-187EE399270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39330615"/>
      </p:ext>
    </p:extLst>
  </p:cSld>
  <p:clrMapOvr>
    <a:masterClrMapping/>
  </p:clrMapOvr>
  <p:transition>
    <p:wipe dir="d"/>
  </p:transition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7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0" indent="0">
              <a:buNone/>
              <a:defRPr sz="1400"/>
            </a:lvl5pPr>
            <a:lvl6pPr marL="2285725" indent="0">
              <a:buNone/>
              <a:defRPr sz="1400"/>
            </a:lvl6pPr>
            <a:lvl7pPr marL="2742870" indent="0">
              <a:buNone/>
              <a:defRPr sz="1400"/>
            </a:lvl7pPr>
            <a:lvl8pPr marL="3200016" indent="0">
              <a:buNone/>
              <a:defRPr sz="1400"/>
            </a:lvl8pPr>
            <a:lvl9pPr marL="365716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30BB63-E4E8-483F-9856-5E335B2245B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7462387"/>
      </p:ext>
    </p:extLst>
  </p:cSld>
  <p:clrMapOvr>
    <a:masterClrMapping/>
  </p:clrMapOvr>
  <p:transition>
    <p:wipe dir="d"/>
  </p:transition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83" y="1128713"/>
            <a:ext cx="4331677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134" y="1128713"/>
            <a:ext cx="4333143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17431A-1427-413C-9CF1-FF50EC9C446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03615310"/>
      </p:ext>
    </p:extLst>
  </p:cSld>
  <p:clrMapOvr>
    <a:masterClrMapping/>
  </p:clrMapOvr>
  <p:transition>
    <p:wipe dir="d"/>
  </p:transition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6" y="1535115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6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8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27AF2-1958-49AA-AC01-5291ED29192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7117019"/>
      </p:ext>
    </p:extLst>
  </p:cSld>
  <p:clrMapOvr>
    <a:masterClrMapping/>
  </p:clrMapOvr>
  <p:transition>
    <p:wipe dir="d"/>
  </p:transition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5AE401-534B-40D1-BD08-403A50EF2D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4451421"/>
      </p:ext>
    </p:extLst>
  </p:cSld>
  <p:clrMapOvr>
    <a:masterClrMapping/>
  </p:clrMapOvr>
  <p:transition>
    <p:wipe dir="d"/>
  </p:transition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0071D3-45F8-4D64-950E-1E865FCBEB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17920116"/>
      </p:ext>
    </p:extLst>
  </p:cSld>
  <p:clrMapOvr>
    <a:masterClrMapping/>
  </p:clrMapOvr>
  <p:transition>
    <p:wipe dir="d"/>
  </p:transition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87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1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135C49-6EEE-469F-BDC2-90363C18DC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449281"/>
      </p:ext>
    </p:extLst>
  </p:cSld>
  <p:clrMapOvr>
    <a:masterClrMapping/>
  </p:clrMapOvr>
  <p:transition>
    <p:wipe dir="d"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F4BA74-8AB9-461E-AC35-CCDE03D8B47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1726125"/>
      </p:ext>
    </p:extLst>
  </p:cSld>
  <p:clrMapOvr>
    <a:masterClrMapping/>
  </p:clrMapOvr>
  <p:transition>
    <p:wipe dir="d"/>
  </p:transition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08336A-F5EB-4DBD-A525-F2F3BA264B2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90937910"/>
      </p:ext>
    </p:extLst>
  </p:cSld>
  <p:clrMapOvr>
    <a:masterClrMapping/>
  </p:clrMapOvr>
  <p:transition>
    <p:wipe dir="d"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37"/>
            <a:ext cx="2202474" cy="6100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985" y="37"/>
            <a:ext cx="6471138" cy="6100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F16F68-252E-4B4B-BC9A-516EC3207F7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74322848"/>
      </p:ext>
    </p:extLst>
  </p:cSld>
  <p:clrMapOvr>
    <a:masterClrMapping/>
  </p:clrMapOvr>
  <p:transition>
    <p:wipe dir="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FFFFFF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7529149" y="3151315"/>
            <a:ext cx="1356946" cy="366713"/>
            <a:chOff x="5138" y="1985"/>
            <a:chExt cx="926" cy="231"/>
          </a:xfrm>
        </p:grpSpPr>
        <p:pic>
          <p:nvPicPr>
            <p:cNvPr id="6" name="Picture 6" descr="Logotype_White_33mm300dpi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5" y="2041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5138" y="1985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1450" y="1574873"/>
            <a:ext cx="6553200" cy="216852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1708" y="4029075"/>
            <a:ext cx="6553200" cy="1752600"/>
          </a:xfrm>
        </p:spPr>
        <p:txBody>
          <a:bodyPr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Nokia Large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540728" y="6524625"/>
            <a:ext cx="3909646" cy="1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FFFFFF"/>
                </a:solidFill>
              </a:rPr>
              <a:t>© 2008  Nokia 	 V1-Filename.ppt / YYYY-MM-DD / Initial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99295" y="6518275"/>
            <a:ext cx="344366" cy="1984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D08BE4F-9A6E-4965-AD38-C81F9D56DB5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02248257"/>
      </p:ext>
    </p:extLst>
  </p:cSld>
  <p:clrMapOvr>
    <a:masterClrMapping/>
  </p:clrMapOvr>
  <p:transition>
    <p:wipe dir="d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780" y="39"/>
            <a:ext cx="8804031" cy="11287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78780" y="1128713"/>
            <a:ext cx="8805497" cy="49720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06622" y="6524625"/>
            <a:ext cx="3909646" cy="192088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</a:pPr>
            <a:r>
              <a:rPr lang="en-US" smtClean="0">
                <a:solidFill>
                  <a:srgbClr val="000000"/>
                </a:solidFill>
              </a:rPr>
              <a:t>© 2008  Nokia   V1-Filename.ppt / YYYY-MM-DD / Initials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89611195"/>
      </p:ext>
    </p:extLst>
  </p:cSld>
  <p:clrMapOvr>
    <a:masterClrMapping/>
  </p:clrMapOvr>
  <p:transition>
    <p:wipe dir="d"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FFFFFF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7529149" y="3151254"/>
            <a:ext cx="1356946" cy="366713"/>
            <a:chOff x="5138" y="1985"/>
            <a:chExt cx="926" cy="231"/>
          </a:xfrm>
        </p:grpSpPr>
        <p:pic>
          <p:nvPicPr>
            <p:cNvPr id="6" name="Picture 6" descr="Logotype_White_33mm300dpi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5" y="2041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5138" y="1985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1450" y="1574829"/>
            <a:ext cx="6553200" cy="216852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1708" y="4029075"/>
            <a:ext cx="6553200" cy="1752600"/>
          </a:xfrm>
        </p:spPr>
        <p:txBody>
          <a:bodyPr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Nokia Large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540728" y="6524625"/>
            <a:ext cx="3909646" cy="1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FFFFFF"/>
                </a:solidFill>
              </a:rPr>
              <a:t>© 2008  Nokia 	 V1-Filename.ppt / YYYY-MM-DD / Initial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99295" y="6518275"/>
            <a:ext cx="344366" cy="1984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D08BE4F-9A6E-4965-AD38-C81F9D56DB5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6219600"/>
      </p:ext>
    </p:extLst>
  </p:cSld>
  <p:clrMapOvr>
    <a:masterClrMapping/>
  </p:clrMapOvr>
  <p:transition>
    <p:wipe dir="d"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B1926E-891F-47A9-81AD-187EE399270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05897283"/>
      </p:ext>
    </p:extLst>
  </p:cSld>
  <p:clrMapOvr>
    <a:masterClrMapping/>
  </p:clrMapOvr>
  <p:transition>
    <p:wipe dir="d"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4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0" indent="0">
              <a:buNone/>
              <a:defRPr sz="1400"/>
            </a:lvl5pPr>
            <a:lvl6pPr marL="2285725" indent="0">
              <a:buNone/>
              <a:defRPr sz="1400"/>
            </a:lvl6pPr>
            <a:lvl7pPr marL="2742870" indent="0">
              <a:buNone/>
              <a:defRPr sz="1400"/>
            </a:lvl7pPr>
            <a:lvl8pPr marL="3200016" indent="0">
              <a:buNone/>
              <a:defRPr sz="1400"/>
            </a:lvl8pPr>
            <a:lvl9pPr marL="365716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30BB63-E4E8-483F-9856-5E335B2245B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42484781"/>
      </p:ext>
    </p:extLst>
  </p:cSld>
  <p:clrMapOvr>
    <a:masterClrMapping/>
  </p:clrMapOvr>
  <p:transition>
    <p:wipe dir="d"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81" y="1128713"/>
            <a:ext cx="4331677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133" y="1128713"/>
            <a:ext cx="4333143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17431A-1427-413C-9CF1-FF50EC9C446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608999"/>
      </p:ext>
    </p:extLst>
  </p:cSld>
  <p:clrMapOvr>
    <a:masterClrMapping/>
  </p:clrMapOvr>
  <p:transition>
    <p:wipe dir="d"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92" y="1535115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92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8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27AF2-1958-49AA-AC01-5291ED29192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54721212"/>
      </p:ext>
    </p:extLst>
  </p:cSld>
  <p:clrMapOvr>
    <a:masterClrMapping/>
  </p:clrMapOvr>
  <p:transition>
    <p:wipe dir="d"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5AE401-534B-40D1-BD08-403A50EF2D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8372903"/>
      </p:ext>
    </p:extLst>
  </p:cSld>
  <p:clrMapOvr>
    <a:masterClrMapping/>
  </p:clrMapOvr>
  <p:transition>
    <p:wipe dir="d"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0071D3-45F8-4D64-950E-1E865FCBEB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95101416"/>
      </p:ext>
    </p:extLst>
  </p:cSld>
  <p:clrMapOvr>
    <a:masterClrMapping/>
  </p:clrMapOvr>
  <p:transition>
    <p:wipe dir="d"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77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135C49-6EEE-469F-BDC2-90363C18DC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9968795"/>
      </p:ext>
    </p:extLst>
  </p:cSld>
  <p:clrMapOvr>
    <a:masterClrMapping/>
  </p:clrMapOvr>
  <p:transition>
    <p:wipe dir="d"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F4BA74-8AB9-461E-AC35-CCDE03D8B47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6917235"/>
      </p:ext>
    </p:extLst>
  </p:cSld>
  <p:clrMapOvr>
    <a:masterClrMapping/>
  </p:clrMapOvr>
  <p:transition>
    <p:wipe dir="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B1926E-891F-47A9-81AD-187EE399270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34568554"/>
      </p:ext>
    </p:extLst>
  </p:cSld>
  <p:clrMapOvr>
    <a:masterClrMapping/>
  </p:clrMapOvr>
  <p:transition>
    <p:wipe dir="d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08336A-F5EB-4DBD-A525-F2F3BA264B2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7532722"/>
      </p:ext>
    </p:extLst>
  </p:cSld>
  <p:clrMapOvr>
    <a:masterClrMapping/>
  </p:clrMapOvr>
  <p:transition>
    <p:wipe dir="d"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"/>
            <a:ext cx="2202474" cy="6100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985" y="27"/>
            <a:ext cx="6471138" cy="6100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F16F68-252E-4B4B-BC9A-516EC3207F7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679709"/>
      </p:ext>
    </p:extLst>
  </p:cSld>
  <p:clrMapOvr>
    <a:masterClrMapping/>
  </p:clrMapOvr>
  <p:transition>
    <p:wipe dir="d"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p:oleObj spid="_x0000_s1435" name="think-cell Slide" r:id="rId8" imgW="0" imgH="0" progId="">
              <p:embed/>
            </p:oleObj>
          </a:graphicData>
        </a:graphic>
      </p:graphicFrame>
      <p:sp>
        <p:nvSpPr>
          <p:cNvPr id="5" name="Rectangle 1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0" y="2"/>
            <a:ext cx="9144000" cy="61087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4" rIns="91430" bIns="45714" anchor="ctr"/>
          <a:lstStyle/>
          <a:p>
            <a:pPr algn="ctr"/>
            <a:endParaRPr lang="en-GB" sz="1200" b="1">
              <a:solidFill>
                <a:srgbClr val="000000"/>
              </a:solidFill>
              <a:latin typeface="Nokia Sans Wide"/>
              <a:cs typeface="Arial" charset="0"/>
            </a:endParaRPr>
          </a:p>
        </p:txBody>
      </p:sp>
      <p:grpSp>
        <p:nvGrpSpPr>
          <p:cNvPr id="6" name="Group 1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7554062" y="6300832"/>
            <a:ext cx="1355480" cy="366711"/>
            <a:chOff x="5138" y="3969"/>
            <a:chExt cx="925" cy="231"/>
          </a:xfrm>
        </p:grpSpPr>
        <p:pic>
          <p:nvPicPr>
            <p:cNvPr id="7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314" y="4025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Rectangle 9"/>
            <p:cNvSpPr>
              <a:spLocks noChangeArrowheads="1"/>
            </p:cNvSpPr>
            <p:nvPr userDrawn="1"/>
          </p:nvSpPr>
          <p:spPr bwMode="gray">
            <a:xfrm>
              <a:off x="5138" y="3969"/>
              <a:ext cx="125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</a:pPr>
              <a:endParaRPr lang="en-US" b="1">
                <a:solidFill>
                  <a:srgbClr val="000000"/>
                </a:solidFill>
                <a:latin typeface="Nokia Sans Wide"/>
                <a:cs typeface="Arial" charset="0"/>
              </a:endParaRPr>
            </a:p>
          </p:txBody>
        </p:sp>
      </p:grpSp>
      <p:sp>
        <p:nvSpPr>
          <p:cNvPr id="532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572309"/>
            <a:ext cx="7772400" cy="584763"/>
          </a:xfrm>
        </p:spPr>
        <p:txBody>
          <a:bodyPr>
            <a:spAutoFit/>
          </a:bodyPr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532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85800" y="4830812"/>
            <a:ext cx="7772400" cy="335979"/>
          </a:xfrm>
        </p:spPr>
        <p:txBody>
          <a:bodyPr lIns="90477" tIns="44445" rIns="90477" bIns="44445"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9" name="doc id"/>
          <p:cNvSpPr>
            <a:spLocks noGrp="1" noChangeArrowheads="1"/>
          </p:cNvSpPr>
          <p:nvPr>
            <p:ph type="ftr" sz="quarter" idx="10"/>
            <p:custDataLst>
              <p:tags r:id="rId5"/>
            </p:custDataLst>
          </p:nvPr>
        </p:nvSpPr>
        <p:spPr>
          <a:xfrm>
            <a:off x="3124202" y="6245253"/>
            <a:ext cx="2895600" cy="311357"/>
          </a:xfrm>
          <a:ln w="12700" algn="ctr">
            <a:miter lim="800000"/>
            <a:headEnd/>
            <a:tailEnd/>
          </a:ln>
        </p:spPr>
        <p:txBody>
          <a:bodyPr/>
          <a:lstStyle>
            <a:lvl1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 sz="800"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/>
              <a:t>SECRET for scenario planning purposes only, subject to change</a:t>
            </a:r>
            <a:endParaRPr lang="en-US" noProof="1"/>
          </a:p>
        </p:txBody>
      </p:sp>
      <p:sp>
        <p:nvSpPr>
          <p:cNvPr id="10" name="pg num"/>
          <p:cNvSpPr>
            <a:spLocks noGrp="1" noChangeArrowheads="1"/>
          </p:cNvSpPr>
          <p:nvPr>
            <p:ph type="sldNum" sz="quarter" idx="11"/>
            <p:custDataLst>
              <p:tags r:id="rId6"/>
            </p:custDataLst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 eaLnBrk="0" hangingPunct="0">
              <a:spcBef>
                <a:spcPct val="0"/>
              </a:spcBef>
              <a:spcAft>
                <a:spcPct val="0"/>
              </a:spcAft>
              <a:buClrTx/>
              <a:defRPr sz="800"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7F53F3E9-251B-4BA9-BD45-6575A92BE52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fc" descr="Company Confidential"/>
          <p:cNvSpPr txBox="1"/>
          <p:nvPr userDrawn="1"/>
        </p:nvSpPr>
        <p:spPr bwMode="auto">
          <a:xfrm>
            <a:off x="0" y="6642100"/>
            <a:ext cx="9144000" cy="2436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0477" tIns="44445" rIns="90477" bIns="44445" rtlCol="0">
            <a:spAutoFit/>
          </a:bodyPr>
          <a:lstStyle/>
          <a:p>
            <a:pPr algn="ctr" defTabSz="761908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 dirty="0" smtClean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33077721"/>
      </p:ext>
    </p:extLst>
  </p:cSld>
  <p:clrMapOvr>
    <a:masterClrMapping/>
  </p:clrMapOvr>
  <p:transition>
    <p:wipe dir="d"/>
  </p:transition>
  <p:hf hd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985" y="25"/>
            <a:ext cx="8804031" cy="11287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643312" y="6489701"/>
            <a:ext cx="4488473" cy="643766"/>
          </a:xfrm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/>
              <a:t>SECRET for scenario planning purposes only, subject to change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6FF338-0D03-4257-84E3-4907973802E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12109009"/>
      </p:ext>
    </p:extLst>
  </p:cSld>
  <p:clrMapOvr>
    <a:masterClrMapping/>
  </p:clrMapOvr>
  <p:transition>
    <p:wipe dir="d"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9985" y="25"/>
            <a:ext cx="8804031" cy="11287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9593" y="2287588"/>
            <a:ext cx="7243397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643312" y="6489701"/>
            <a:ext cx="4488473" cy="643766"/>
          </a:xfrm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/>
              <a:t>SECRET for scenario planning purposes only, subject to change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F5C38D-3F84-465D-B016-DE053E28E65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08932729"/>
      </p:ext>
    </p:extLst>
  </p:cSld>
  <p:clrMapOvr>
    <a:masterClrMapping/>
  </p:clrMapOvr>
  <p:transition>
    <p:wipe dir="d"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643312" y="6489701"/>
            <a:ext cx="4488473" cy="643766"/>
          </a:xfrm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/>
              <a:t>SECRET for scenario planning purposes only, subject to change</a:t>
            </a:r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C1B4D6-DE85-44A2-A194-9B60C75C2F6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1127074"/>
      </p:ext>
    </p:extLst>
  </p:cSld>
  <p:clrMapOvr>
    <a:masterClrMapping/>
  </p:clrMapOvr>
  <p:transition>
    <p:wipe dir="d"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994" y="2565078"/>
            <a:ext cx="4200525" cy="2376091"/>
          </a:xfr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rgbClr val="64646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44971" y="287890"/>
            <a:ext cx="8388000" cy="12821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38166" y="6442524"/>
            <a:ext cx="899997" cy="298891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16844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7023189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748" y="360000"/>
            <a:ext cx="8388000" cy="5805304"/>
          </a:xfrm>
        </p:spPr>
        <p:txBody>
          <a:bodyPr anchor="t">
            <a:normAutofit/>
          </a:bodyPr>
          <a:lstStyle>
            <a:lvl1pPr>
              <a:defRPr sz="2400">
                <a:solidFill>
                  <a:srgbClr val="12419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4084912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430328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700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0" indent="0">
              <a:buNone/>
              <a:defRPr sz="1400"/>
            </a:lvl5pPr>
            <a:lvl6pPr marL="2285725" indent="0">
              <a:buNone/>
              <a:defRPr sz="1400"/>
            </a:lvl6pPr>
            <a:lvl7pPr marL="2742870" indent="0">
              <a:buNone/>
              <a:defRPr sz="1400"/>
            </a:lvl7pPr>
            <a:lvl8pPr marL="3200016" indent="0">
              <a:buNone/>
              <a:defRPr sz="1400"/>
            </a:lvl8pPr>
            <a:lvl9pPr marL="365716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30BB63-E4E8-483F-9856-5E335B2245B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21074138"/>
      </p:ext>
    </p:extLst>
  </p:cSld>
  <p:clrMapOvr>
    <a:masterClrMapping/>
  </p:clrMapOvr>
  <p:transition>
    <p:wipe dir="d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48" y="360000"/>
            <a:ext cx="8388000" cy="828000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rgbClr val="12419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332002"/>
            <a:ext cx="3960000" cy="639762"/>
          </a:xfrm>
        </p:spPr>
        <p:txBody>
          <a:bodyPr anchor="t"/>
          <a:lstStyle>
            <a:lvl1pPr marL="0" indent="0">
              <a:buNone/>
              <a:defRPr sz="2400" b="0">
                <a:solidFill>
                  <a:srgbClr val="646464"/>
                </a:solidFill>
              </a:defRPr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6748" y="2160002"/>
            <a:ext cx="3960000" cy="3960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  <a:latin typeface="Nokia Pure Text" pitchFamily="34" charset="0"/>
              </a:defRPr>
            </a:lvl1pPr>
            <a:lvl2pPr>
              <a:defRPr sz="2000">
                <a:solidFill>
                  <a:srgbClr val="646464"/>
                </a:solidFill>
                <a:latin typeface="Nokia Pure Text" pitchFamily="34" charset="0"/>
              </a:defRPr>
            </a:lvl2pPr>
            <a:lvl3pPr>
              <a:defRPr sz="1800">
                <a:solidFill>
                  <a:srgbClr val="646464"/>
                </a:solidFill>
                <a:latin typeface="Nokia Pure Text" pitchFamily="34" charset="0"/>
              </a:defRPr>
            </a:lvl3pPr>
            <a:lvl4pPr>
              <a:defRPr sz="1600" b="0">
                <a:solidFill>
                  <a:srgbClr val="646464"/>
                </a:solidFill>
                <a:latin typeface="Nokia Pure Text" pitchFamily="34" charset="0"/>
              </a:defRPr>
            </a:lvl4pPr>
            <a:lvl5pPr>
              <a:defRPr sz="1400">
                <a:solidFill>
                  <a:srgbClr val="646464"/>
                </a:solidFill>
                <a:latin typeface="Nokia Pure Text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03775" y="1332002"/>
            <a:ext cx="3960000" cy="639762"/>
          </a:xfrm>
        </p:spPr>
        <p:txBody>
          <a:bodyPr anchor="t"/>
          <a:lstStyle>
            <a:lvl1pPr marL="0" indent="0">
              <a:buNone/>
              <a:defRPr sz="2400" b="0">
                <a:solidFill>
                  <a:srgbClr val="646464"/>
                </a:solidFill>
              </a:defRPr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03775" y="2160002"/>
            <a:ext cx="3960000" cy="3960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  <a:latin typeface="Nokia Pure Text" pitchFamily="34" charset="0"/>
              </a:defRPr>
            </a:lvl1pPr>
            <a:lvl2pPr>
              <a:defRPr sz="2000">
                <a:solidFill>
                  <a:srgbClr val="646464"/>
                </a:solidFill>
                <a:latin typeface="Nokia Pure Text" pitchFamily="34" charset="0"/>
              </a:defRPr>
            </a:lvl2pPr>
            <a:lvl3pPr>
              <a:defRPr sz="1800">
                <a:solidFill>
                  <a:srgbClr val="646464"/>
                </a:solidFill>
                <a:latin typeface="Nokia Pure Text" pitchFamily="34" charset="0"/>
              </a:defRPr>
            </a:lvl3pPr>
            <a:lvl4pPr>
              <a:defRPr sz="1600">
                <a:solidFill>
                  <a:srgbClr val="646464"/>
                </a:solidFill>
                <a:latin typeface="Nokia Pure Text" pitchFamily="34" charset="0"/>
              </a:defRPr>
            </a:lvl4pPr>
            <a:lvl5pPr>
              <a:defRPr sz="1400">
                <a:solidFill>
                  <a:srgbClr val="646464"/>
                </a:solidFill>
                <a:latin typeface="Nokia Pure Text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9318932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48" y="360000"/>
            <a:ext cx="8388000" cy="828000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rgbClr val="12419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4576342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3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48" y="360000"/>
            <a:ext cx="8388000" cy="828000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rgbClr val="12419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46747" y="1332000"/>
            <a:ext cx="8388000" cy="4895850"/>
          </a:xfrm>
        </p:spPr>
        <p:txBody>
          <a:bodyPr numCol="3" spcCol="179978">
            <a:normAutofit/>
          </a:bodyPr>
          <a:lstStyle>
            <a:lvl1pPr marL="0" indent="0">
              <a:spcAft>
                <a:spcPts val="0"/>
              </a:spcAft>
              <a:buNone/>
              <a:defRPr sz="1400">
                <a:solidFill>
                  <a:srgbClr val="646464"/>
                </a:solidFill>
                <a:latin typeface="Nokia Pure Text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7870809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2Columns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48" y="360000"/>
            <a:ext cx="8388000" cy="828000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rgbClr val="124191"/>
                </a:solidFill>
                <a:latin typeface="Nokia Pure Headline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46748" y="1332002"/>
            <a:ext cx="5533200" cy="4896000"/>
          </a:xfrm>
        </p:spPr>
        <p:txBody>
          <a:bodyPr numCol="2" spcCol="179978">
            <a:normAutofit/>
          </a:bodyPr>
          <a:lstStyle>
            <a:lvl1pPr marL="0" indent="0">
              <a:buNone/>
              <a:defRPr sz="2000">
                <a:solidFill>
                  <a:srgbClr val="64646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086475" y="1332000"/>
            <a:ext cx="2692400" cy="2303586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646464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6086475" y="3850952"/>
            <a:ext cx="2692400" cy="23050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646464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64282270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48" y="360000"/>
            <a:ext cx="8388000" cy="828000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rgbClr val="12419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46748" y="1332000"/>
            <a:ext cx="2806700" cy="496800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64646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348061" y="1341438"/>
            <a:ext cx="5430837" cy="4860000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  <a:lvl2pPr>
              <a:defRPr>
                <a:solidFill>
                  <a:srgbClr val="646464"/>
                </a:solidFill>
              </a:defRPr>
            </a:lvl2pPr>
            <a:lvl3pPr>
              <a:defRPr>
                <a:solidFill>
                  <a:srgbClr val="646464"/>
                </a:solidFill>
              </a:defRPr>
            </a:lvl3pPr>
            <a:lvl4pPr>
              <a:defRPr>
                <a:solidFill>
                  <a:srgbClr val="646464"/>
                </a:solidFill>
              </a:defRPr>
            </a:lvl4pPr>
            <a:lvl5pPr>
              <a:defRPr>
                <a:solidFill>
                  <a:srgbClr val="646464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61813084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63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63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04259574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4191"/>
                </a:solidFill>
              </a:defRPr>
            </a:lvl1pPr>
          </a:lstStyle>
          <a:p>
            <a:fld id="{1DFF4ECC-2EB9-4399-B072-B53D46A7B74E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04298856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DFF4ECC-2EB9-4399-B072-B53D46A7B74E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994" y="2565078"/>
            <a:ext cx="4200525" cy="2376091"/>
          </a:xfr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38166" y="6442476"/>
            <a:ext cx="899997" cy="298892"/>
          </a:xfrm>
          <a:prstGeom prst="rect">
            <a:avLst/>
          </a:prstGeom>
        </p:spPr>
      </p:pic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44971" y="285728"/>
            <a:ext cx="8388000" cy="12821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Company Confidential    © 2011 Nokia   HRLT Day 2</a:t>
            </a:r>
            <a:endParaRPr lang="en-GB" dirty="0">
              <a:solidFill>
                <a:srgbClr val="FFFFFF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21470520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Pr>
        <a:solidFill>
          <a:srgbClr val="1135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994" y="2565078"/>
            <a:ext cx="4200525" cy="2376091"/>
          </a:xfr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44971" y="287890"/>
            <a:ext cx="8388000" cy="12821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38166" y="6442476"/>
            <a:ext cx="899997" cy="298892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DFF4ECC-2EB9-4399-B072-B53D46A7B74E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Company Confidential    © 2011 Nokia   HRLT Day 2</a:t>
            </a:r>
            <a:endParaRPr lang="en-GB" dirty="0">
              <a:solidFill>
                <a:srgbClr val="FFFFFF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1254130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7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2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80300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83" y="1128713"/>
            <a:ext cx="4331677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134" y="1128713"/>
            <a:ext cx="4333143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17431A-1427-413C-9CF1-FF50EC9C446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43667501"/>
      </p:ext>
    </p:extLst>
  </p:cSld>
  <p:clrMapOvr>
    <a:masterClrMapping/>
  </p:clrMapOvr>
  <p:transition>
    <p:wipe dir="d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7135166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4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1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4851011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630132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5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133627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023804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5854091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77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780549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4021764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4605122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63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63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389564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6" y="1535115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6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8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27AF2-1958-49AA-AC01-5291ED29192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9396509"/>
      </p:ext>
    </p:extLst>
  </p:cSld>
  <p:clrMapOvr>
    <a:masterClrMapping/>
  </p:clrMapOvr>
  <p:transition>
    <p:wipe dir="d"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9388" y="381028"/>
            <a:ext cx="6913562" cy="1824567"/>
          </a:xfrm>
        </p:spPr>
        <p:txBody>
          <a:bodyPr/>
          <a:lstStyle>
            <a:lvl1pPr>
              <a:lnSpc>
                <a:spcPct val="90000"/>
              </a:lnSpc>
              <a:defRPr sz="4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475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9388" y="2208361"/>
            <a:ext cx="4392612" cy="2173816"/>
          </a:xfrm>
        </p:spPr>
        <p:txBody>
          <a:bodyPr anchor="b"/>
          <a:lstStyle>
            <a:lvl1pPr marL="0" indent="0" algn="r">
              <a:lnSpc>
                <a:spcPct val="85000"/>
              </a:lnSpc>
              <a:spcBef>
                <a:spcPct val="0"/>
              </a:spcBef>
              <a:buFontTx/>
              <a:buNone/>
              <a:defRPr sz="2400">
                <a:solidFill>
                  <a:srgbClr val="AFD4F0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44AA69A-8F51-482D-A639-E5114D49C76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mpany Confidential. ©2011 Nokia</a:t>
            </a: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2064374"/>
      </p:ext>
    </p:extLst>
  </p:cSld>
  <p:clrMapOvr>
    <a:masterClrMapping/>
  </p:clrMapOvr>
  <p:transition>
    <p:wipe dir="r"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>
                  <a:lumMod val="20000"/>
                  <a:lumOff val="80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tx2">
                  <a:lumMod val="20000"/>
                  <a:lumOff val="80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tx2">
                  <a:lumMod val="20000"/>
                  <a:lumOff val="80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tx2">
                  <a:lumMod val="20000"/>
                  <a:lumOff val="80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tx2">
                  <a:lumMod val="20000"/>
                  <a:lumOff val="80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1437E50-E233-4432-9441-9E4A0F1AD638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FFFFFF"/>
                </a:solidFill>
              </a:rPr>
              <a:t>Company Confidential. ©2011 Nokia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96060819"/>
      </p:ext>
    </p:extLst>
  </p:cSld>
  <p:clrMapOvr>
    <a:masterClrMapping/>
  </p:clrMapOvr>
  <p:transition>
    <p:wipe dir="r"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197830" y="6273800"/>
            <a:ext cx="281060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solidFill>
                  <a:srgbClr val="FFFFFF"/>
                </a:solidFill>
                <a:latin typeface="Nokia Sans Wide"/>
              </a:rPr>
              <a:t>Company Confidential</a:t>
            </a:r>
          </a:p>
        </p:txBody>
      </p:sp>
      <p:grpSp>
        <p:nvGrpSpPr>
          <p:cNvPr id="2" name="Group 9"/>
          <p:cNvGrpSpPr>
            <a:grpSpLocks/>
          </p:cNvGrpSpPr>
          <p:nvPr/>
        </p:nvGrpSpPr>
        <p:grpSpPr bwMode="auto">
          <a:xfrm>
            <a:off x="7529149" y="3151529"/>
            <a:ext cx="1356946" cy="366713"/>
            <a:chOff x="5138" y="1985"/>
            <a:chExt cx="926" cy="231"/>
          </a:xfrm>
        </p:grpSpPr>
        <p:pic>
          <p:nvPicPr>
            <p:cNvPr id="6" name="Picture 6" descr="Logotype_White_33mm300dpi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5315" y="2041"/>
              <a:ext cx="749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5138" y="1985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 dirty="0">
                <a:solidFill>
                  <a:srgbClr val="000000"/>
                </a:solidFill>
                <a:latin typeface="Nokia Sans Wide"/>
              </a:endParaRPr>
            </a:p>
          </p:txBody>
        </p:sp>
      </p:grp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1450" y="1574804"/>
            <a:ext cx="6553200" cy="216852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 Master title style</a:t>
            </a:r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1708" y="4029075"/>
            <a:ext cx="6553200" cy="1752600"/>
          </a:xfrm>
        </p:spPr>
        <p:txBody>
          <a:bodyPr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Nokia Large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540727" y="6524625"/>
            <a:ext cx="3909646" cy="1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FFFFFF"/>
                </a:solidFill>
              </a:rPr>
              <a:t>© 2008  Nokia 	 V1-Filename.ppt / YYYY-MM-DD / Initial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99295" y="6518275"/>
            <a:ext cx="344366" cy="1984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870EE46B-6518-419A-AF21-00D4EF4C7E63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" name="fc" descr="Company Confidential"/>
          <p:cNvSpPr txBox="1"/>
          <p:nvPr userDrawn="1"/>
        </p:nvSpPr>
        <p:spPr>
          <a:xfrm>
            <a:off x="0" y="6642100"/>
            <a:ext cx="9144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5941685"/>
      </p:ext>
    </p:extLst>
  </p:cSld>
  <p:clrMapOvr>
    <a:masterClrMapping/>
  </p:clrMapOvr>
  <p:transition>
    <p:wipe dir="d"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920DA1-9A63-4752-8417-4AB5BE09332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44338387"/>
      </p:ext>
    </p:extLst>
  </p:cSld>
  <p:clrMapOvr>
    <a:masterClrMapping/>
  </p:clrMapOvr>
  <p:transition>
    <p:wipe dir="d"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723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D82BF8-8EEF-41E2-8B59-F55B8A93CFE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77676858"/>
      </p:ext>
    </p:extLst>
  </p:cSld>
  <p:clrMapOvr>
    <a:masterClrMapping/>
  </p:clrMapOvr>
  <p:transition>
    <p:wipe dir="d"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81" y="1128713"/>
            <a:ext cx="4331677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132" y="1128713"/>
            <a:ext cx="4333143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87110C-DAE7-43AF-A4DE-0396168F955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99625900"/>
      </p:ext>
    </p:extLst>
  </p:cSld>
  <p:clrMapOvr>
    <a:masterClrMapping/>
  </p:clrMapOvr>
  <p:transition>
    <p:wipe dir="d"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6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6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8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F39A1C-4F20-4C1C-91B5-BB22C1C66AE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31703319"/>
      </p:ext>
    </p:extLst>
  </p:cSld>
  <p:clrMapOvr>
    <a:masterClrMapping/>
  </p:clrMapOvr>
  <p:transition>
    <p:wipe dir="d"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711D40-4967-4548-A40F-F172291804F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883837"/>
      </p:ext>
    </p:extLst>
  </p:cSld>
  <p:clrMapOvr>
    <a:masterClrMapping/>
  </p:clrMapOvr>
  <p:transition>
    <p:wipe dir="d"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E9D7E0-DA3C-42AE-B885-D7461196806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65905674"/>
      </p:ext>
    </p:extLst>
  </p:cSld>
  <p:clrMapOvr>
    <a:masterClrMapping/>
  </p:clrMapOvr>
  <p:transition>
    <p:wipe dir="d"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7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F16A8C-0EB6-43E7-8482-6A076D1F4E3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7456764"/>
      </p:ext>
    </p:extLst>
  </p:cSld>
  <p:clrMapOvr>
    <a:masterClrMapping/>
  </p:clrMapOvr>
  <p:transition>
    <p:wipe dir="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5AE401-534B-40D1-BD08-403A50EF2D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7943801"/>
      </p:ext>
    </p:extLst>
  </p:cSld>
  <p:clrMapOvr>
    <a:masterClrMapping/>
  </p:clrMapOvr>
  <p:transition>
    <p:wipe dir="d"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D2A5A0-D042-410A-99EA-DEEBDED09A1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21173767"/>
      </p:ext>
    </p:extLst>
  </p:cSld>
  <p:clrMapOvr>
    <a:masterClrMapping/>
  </p:clrMapOvr>
  <p:transition>
    <p:wipe dir="d"/>
  </p:transition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02D3E8-F439-40E6-8173-3F3434A6823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04954556"/>
      </p:ext>
    </p:extLst>
  </p:cSld>
  <p:clrMapOvr>
    <a:masterClrMapping/>
  </p:clrMapOvr>
  <p:transition>
    <p:wipe dir="d"/>
  </p:transition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"/>
            <a:ext cx="2202474" cy="6100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985" y="2"/>
            <a:ext cx="6471138" cy="6100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1354AD-DB82-4A95-8BD2-BCEF7D8D94F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68005938"/>
      </p:ext>
    </p:extLst>
  </p:cSld>
  <p:clrMapOvr>
    <a:masterClrMapping/>
  </p:clrMapOvr>
  <p:transition>
    <p:wipe dir="d"/>
  </p:transition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69991" y="2"/>
            <a:ext cx="8814289" cy="6100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B9199A-1F7E-4207-994E-C6C1CACE90C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25256340"/>
      </p:ext>
    </p:extLst>
  </p:cSld>
  <p:clrMapOvr>
    <a:masterClrMapping/>
  </p:clrMapOvr>
  <p:transition>
    <p:wipe dir="d"/>
  </p:transition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c" descr="Company Confidential"/>
          <p:cNvSpPr txBox="1"/>
          <p:nvPr userDrawn="1"/>
        </p:nvSpPr>
        <p:spPr>
          <a:xfrm>
            <a:off x="0" y="6642100"/>
            <a:ext cx="9144000" cy="246215"/>
          </a:xfrm>
          <a:prstGeom prst="rect">
            <a:avLst/>
          </a:prstGeom>
          <a:noFill/>
        </p:spPr>
        <p:txBody>
          <a:bodyPr vert="horz" lIns="91435" tIns="45717" rIns="91435" bIns="45717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52698250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043352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7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4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9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6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2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38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546863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64359057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4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3" indent="0">
              <a:buNone/>
              <a:defRPr sz="2000" b="1"/>
            </a:lvl2pPr>
            <a:lvl3pPr marL="914345" indent="0">
              <a:buNone/>
              <a:defRPr sz="1800" b="1"/>
            </a:lvl3pPr>
            <a:lvl4pPr marL="1371518" indent="0">
              <a:buNone/>
              <a:defRPr sz="1600" b="1"/>
            </a:lvl4pPr>
            <a:lvl5pPr marL="1828690" indent="0">
              <a:buNone/>
              <a:defRPr sz="1600" b="1"/>
            </a:lvl5pPr>
            <a:lvl6pPr marL="2285863" indent="0">
              <a:buNone/>
              <a:defRPr sz="1600" b="1"/>
            </a:lvl6pPr>
            <a:lvl7pPr marL="2743035" indent="0">
              <a:buNone/>
              <a:defRPr sz="1600" b="1"/>
            </a:lvl7pPr>
            <a:lvl8pPr marL="3200208" indent="0">
              <a:buNone/>
              <a:defRPr sz="1600" b="1"/>
            </a:lvl8pPr>
            <a:lvl9pPr marL="365738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4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73" indent="0">
              <a:buNone/>
              <a:defRPr sz="2000" b="1"/>
            </a:lvl2pPr>
            <a:lvl3pPr marL="914345" indent="0">
              <a:buNone/>
              <a:defRPr sz="1800" b="1"/>
            </a:lvl3pPr>
            <a:lvl4pPr marL="1371518" indent="0">
              <a:buNone/>
              <a:defRPr sz="1600" b="1"/>
            </a:lvl4pPr>
            <a:lvl5pPr marL="1828690" indent="0">
              <a:buNone/>
              <a:defRPr sz="1600" b="1"/>
            </a:lvl5pPr>
            <a:lvl6pPr marL="2285863" indent="0">
              <a:buNone/>
              <a:defRPr sz="1600" b="1"/>
            </a:lvl6pPr>
            <a:lvl7pPr marL="2743035" indent="0">
              <a:buNone/>
              <a:defRPr sz="1600" b="1"/>
            </a:lvl7pPr>
            <a:lvl8pPr marL="3200208" indent="0">
              <a:buNone/>
              <a:defRPr sz="1600" b="1"/>
            </a:lvl8pPr>
            <a:lvl9pPr marL="365738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9216502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456372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0071D3-45F8-4D64-950E-1E865FCBEB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64764685"/>
      </p:ext>
    </p:extLst>
  </p:cSld>
  <p:clrMapOvr>
    <a:masterClrMapping/>
  </p:clrMapOvr>
  <p:transition>
    <p:wipe dir="d"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8340036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73" indent="0">
              <a:buNone/>
              <a:defRPr sz="1200"/>
            </a:lvl2pPr>
            <a:lvl3pPr marL="914345" indent="0">
              <a:buNone/>
              <a:defRPr sz="1000"/>
            </a:lvl3pPr>
            <a:lvl4pPr marL="1371518" indent="0">
              <a:buNone/>
              <a:defRPr sz="900"/>
            </a:lvl4pPr>
            <a:lvl5pPr marL="1828690" indent="0">
              <a:buNone/>
              <a:defRPr sz="900"/>
            </a:lvl5pPr>
            <a:lvl6pPr marL="2285863" indent="0">
              <a:buNone/>
              <a:defRPr sz="900"/>
            </a:lvl6pPr>
            <a:lvl7pPr marL="2743035" indent="0">
              <a:buNone/>
              <a:defRPr sz="900"/>
            </a:lvl7pPr>
            <a:lvl8pPr marL="3200208" indent="0">
              <a:buNone/>
              <a:defRPr sz="900"/>
            </a:lvl8pPr>
            <a:lvl9pPr marL="365738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5676833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73" indent="0">
              <a:buNone/>
              <a:defRPr sz="2800"/>
            </a:lvl2pPr>
            <a:lvl3pPr marL="914345" indent="0">
              <a:buNone/>
              <a:defRPr sz="2400"/>
            </a:lvl3pPr>
            <a:lvl4pPr marL="1371518" indent="0">
              <a:buNone/>
              <a:defRPr sz="2000"/>
            </a:lvl4pPr>
            <a:lvl5pPr marL="1828690" indent="0">
              <a:buNone/>
              <a:defRPr sz="2000"/>
            </a:lvl5pPr>
            <a:lvl6pPr marL="2285863" indent="0">
              <a:buNone/>
              <a:defRPr sz="2000"/>
            </a:lvl6pPr>
            <a:lvl7pPr marL="2743035" indent="0">
              <a:buNone/>
              <a:defRPr sz="2000"/>
            </a:lvl7pPr>
            <a:lvl8pPr marL="3200208" indent="0">
              <a:buNone/>
              <a:defRPr sz="2000"/>
            </a:lvl8pPr>
            <a:lvl9pPr marL="3657381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73" indent="0">
              <a:buNone/>
              <a:defRPr sz="1200"/>
            </a:lvl2pPr>
            <a:lvl3pPr marL="914345" indent="0">
              <a:buNone/>
              <a:defRPr sz="1000"/>
            </a:lvl3pPr>
            <a:lvl4pPr marL="1371518" indent="0">
              <a:buNone/>
              <a:defRPr sz="900"/>
            </a:lvl4pPr>
            <a:lvl5pPr marL="1828690" indent="0">
              <a:buNone/>
              <a:defRPr sz="900"/>
            </a:lvl5pPr>
            <a:lvl6pPr marL="2285863" indent="0">
              <a:buNone/>
              <a:defRPr sz="900"/>
            </a:lvl6pPr>
            <a:lvl7pPr marL="2743035" indent="0">
              <a:buNone/>
              <a:defRPr sz="900"/>
            </a:lvl7pPr>
            <a:lvl8pPr marL="3200208" indent="0">
              <a:buNone/>
              <a:defRPr sz="900"/>
            </a:lvl8pPr>
            <a:lvl9pPr marL="365738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8428867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313875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3198325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133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2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22169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128585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80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1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37263042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1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1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0279821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115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1058012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B1926E-891F-47A9-81AD-187EE399270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57164140"/>
      </p:ext>
    </p:extLst>
  </p:cSld>
  <p:clrMapOvr>
    <a:masterClrMapping/>
  </p:clrMapOvr>
  <p:transition>
    <p:wipe dir="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11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1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135C49-6EEE-469F-BDC2-90363C18DC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23325126"/>
      </p:ext>
    </p:extLst>
  </p:cSld>
  <p:clrMapOvr>
    <a:masterClrMapping/>
  </p:clrMapOvr>
  <p:transition>
    <p:wipe dir="d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4078968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4160691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27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1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45398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1554959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6981090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865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865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1313081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78780" y="228"/>
            <a:ext cx="8805497" cy="6100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6622" y="6524625"/>
            <a:ext cx="3909646" cy="192088"/>
          </a:xfrm>
        </p:spPr>
        <p:txBody>
          <a:bodyPr/>
          <a:lstStyle>
            <a:lvl1pPr>
              <a:defRPr/>
            </a:lvl1pPr>
          </a:lstStyle>
          <a:p>
            <a:fld id="{FAAACDBC-50A4-4B03-B74B-C9427D91E85F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>
                <a:solidFill>
                  <a:prstClr val="black">
                    <a:tint val="75000"/>
                  </a:prstClr>
                </a:solidFill>
              </a:rPr>
              <a:t>       © 2005  Nokia 	EMS_SP_Pre-Reading_20080404.ppt / 2008-04-04 / JK</a:t>
            </a:r>
          </a:p>
        </p:txBody>
      </p:sp>
    </p:spTree>
    <p:extLst>
      <p:ext uri="{BB962C8B-B14F-4D97-AF65-F5344CB8AC3E}">
        <p14:creationId xmlns:p14="http://schemas.microsoft.com/office/powerpoint/2010/main" xmlns="" val="1948073673"/>
      </p:ext>
    </p:extLst>
  </p:cSld>
  <p:clrMapOvr>
    <a:masterClrMapping/>
  </p:clrMapOvr>
  <p:transition>
    <p:wipe dir="d"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994" y="2565078"/>
            <a:ext cx="4200525" cy="2376091"/>
          </a:xfr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rgbClr val="64646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44971" y="287890"/>
            <a:ext cx="8388000" cy="12821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38166" y="6442524"/>
            <a:ext cx="899997" cy="298891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449463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0818518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6748" y="360000"/>
            <a:ext cx="8388000" cy="5805304"/>
          </a:xfrm>
        </p:spPr>
        <p:txBody>
          <a:bodyPr anchor="t">
            <a:normAutofit/>
          </a:bodyPr>
          <a:lstStyle>
            <a:lvl1pPr>
              <a:defRPr sz="2400">
                <a:solidFill>
                  <a:srgbClr val="12419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6152881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F4BA74-8AB9-461E-AC35-CCDE03D8B47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64328519"/>
      </p:ext>
    </p:extLst>
  </p:cSld>
  <p:clrMapOvr>
    <a:masterClrMapping/>
  </p:clrMapOvr>
  <p:transition>
    <p:wipe dir="d"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15" name="Straight Connector 14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49910551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48" y="360000"/>
            <a:ext cx="8388000" cy="828000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rgbClr val="12419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332002"/>
            <a:ext cx="3960000" cy="639762"/>
          </a:xfrm>
        </p:spPr>
        <p:txBody>
          <a:bodyPr anchor="t"/>
          <a:lstStyle>
            <a:lvl1pPr marL="0" indent="0">
              <a:buNone/>
              <a:defRPr sz="2400" b="0">
                <a:solidFill>
                  <a:srgbClr val="646464"/>
                </a:solidFill>
              </a:defRPr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6748" y="2160002"/>
            <a:ext cx="3960000" cy="3960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  <a:latin typeface="Nokia Pure Text" pitchFamily="34" charset="0"/>
              </a:defRPr>
            </a:lvl1pPr>
            <a:lvl2pPr>
              <a:defRPr sz="2000">
                <a:solidFill>
                  <a:srgbClr val="646464"/>
                </a:solidFill>
                <a:latin typeface="Nokia Pure Text" pitchFamily="34" charset="0"/>
              </a:defRPr>
            </a:lvl2pPr>
            <a:lvl3pPr>
              <a:defRPr sz="1800">
                <a:solidFill>
                  <a:srgbClr val="646464"/>
                </a:solidFill>
                <a:latin typeface="Nokia Pure Text" pitchFamily="34" charset="0"/>
              </a:defRPr>
            </a:lvl3pPr>
            <a:lvl4pPr>
              <a:defRPr sz="1600" b="0">
                <a:solidFill>
                  <a:srgbClr val="646464"/>
                </a:solidFill>
                <a:latin typeface="Nokia Pure Text" pitchFamily="34" charset="0"/>
              </a:defRPr>
            </a:lvl4pPr>
            <a:lvl5pPr>
              <a:defRPr sz="1400">
                <a:solidFill>
                  <a:srgbClr val="646464"/>
                </a:solidFill>
                <a:latin typeface="Nokia Pure Text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03775" y="1332002"/>
            <a:ext cx="3960000" cy="639762"/>
          </a:xfrm>
        </p:spPr>
        <p:txBody>
          <a:bodyPr anchor="t"/>
          <a:lstStyle>
            <a:lvl1pPr marL="0" indent="0">
              <a:buNone/>
              <a:defRPr sz="2400" b="0">
                <a:solidFill>
                  <a:srgbClr val="646464"/>
                </a:solidFill>
              </a:defRPr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03775" y="2160002"/>
            <a:ext cx="3960000" cy="3960000"/>
          </a:xfrm>
        </p:spPr>
        <p:txBody>
          <a:bodyPr/>
          <a:lstStyle>
            <a:lvl1pPr>
              <a:defRPr sz="2400">
                <a:solidFill>
                  <a:srgbClr val="646464"/>
                </a:solidFill>
                <a:latin typeface="Nokia Pure Text" pitchFamily="34" charset="0"/>
              </a:defRPr>
            </a:lvl1pPr>
            <a:lvl2pPr>
              <a:defRPr sz="2000">
                <a:solidFill>
                  <a:srgbClr val="646464"/>
                </a:solidFill>
                <a:latin typeface="Nokia Pure Text" pitchFamily="34" charset="0"/>
              </a:defRPr>
            </a:lvl2pPr>
            <a:lvl3pPr>
              <a:defRPr sz="1800">
                <a:solidFill>
                  <a:srgbClr val="646464"/>
                </a:solidFill>
                <a:latin typeface="Nokia Pure Text" pitchFamily="34" charset="0"/>
              </a:defRPr>
            </a:lvl3pPr>
            <a:lvl4pPr>
              <a:defRPr sz="1600">
                <a:solidFill>
                  <a:srgbClr val="646464"/>
                </a:solidFill>
                <a:latin typeface="Nokia Pure Text" pitchFamily="34" charset="0"/>
              </a:defRPr>
            </a:lvl4pPr>
            <a:lvl5pPr>
              <a:defRPr sz="1400">
                <a:solidFill>
                  <a:srgbClr val="646464"/>
                </a:solidFill>
                <a:latin typeface="Nokia Pure Text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16" name="Straight Connector 15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92569820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48" y="360000"/>
            <a:ext cx="8388000" cy="828000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rgbClr val="12419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cxnSp>
        <p:nvCxnSpPr>
          <p:cNvPr id="6" name="Straight Connector 5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12" name="Straight Connector 11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90690346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3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48" y="360000"/>
            <a:ext cx="8388000" cy="828000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rgbClr val="12419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46747" y="1332000"/>
            <a:ext cx="8388000" cy="4895850"/>
          </a:xfrm>
        </p:spPr>
        <p:txBody>
          <a:bodyPr numCol="3" spcCol="179978">
            <a:normAutofit/>
          </a:bodyPr>
          <a:lstStyle>
            <a:lvl1pPr marL="0" indent="0">
              <a:spcAft>
                <a:spcPts val="0"/>
              </a:spcAft>
              <a:buNone/>
              <a:defRPr sz="1400">
                <a:solidFill>
                  <a:srgbClr val="646464"/>
                </a:solidFill>
                <a:latin typeface="Nokia Pure Text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64483515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_2Columns_P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48" y="360000"/>
            <a:ext cx="8388000" cy="828000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rgbClr val="124191"/>
                </a:solidFill>
                <a:latin typeface="Nokia Pure Headline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46748" y="1332002"/>
            <a:ext cx="5533200" cy="4896000"/>
          </a:xfrm>
        </p:spPr>
        <p:txBody>
          <a:bodyPr numCol="2" spcCol="179978">
            <a:normAutofit/>
          </a:bodyPr>
          <a:lstStyle>
            <a:lvl1pPr marL="0" indent="0">
              <a:buNone/>
              <a:defRPr sz="2000">
                <a:solidFill>
                  <a:srgbClr val="64646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6086475" y="1332000"/>
            <a:ext cx="2692400" cy="2303586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646464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>
          <a:xfrm>
            <a:off x="6086475" y="3850952"/>
            <a:ext cx="2692400" cy="230505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646464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89054945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6748" y="360000"/>
            <a:ext cx="8388000" cy="828000"/>
          </a:xfrm>
        </p:spPr>
        <p:txBody>
          <a:bodyPr anchor="t">
            <a:normAutofit/>
          </a:bodyPr>
          <a:lstStyle>
            <a:lvl1pPr>
              <a:defRPr sz="2400" b="1">
                <a:solidFill>
                  <a:srgbClr val="12419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46748" y="1332000"/>
            <a:ext cx="2806700" cy="4968000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646464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3348061" y="1341438"/>
            <a:ext cx="5430837" cy="4860000"/>
          </a:xfrm>
        </p:spPr>
        <p:txBody>
          <a:bodyPr/>
          <a:lstStyle>
            <a:lvl1pPr>
              <a:defRPr>
                <a:solidFill>
                  <a:srgbClr val="646464"/>
                </a:solidFill>
              </a:defRPr>
            </a:lvl1pPr>
            <a:lvl2pPr>
              <a:defRPr>
                <a:solidFill>
                  <a:srgbClr val="646464"/>
                </a:solidFill>
              </a:defRPr>
            </a:lvl2pPr>
            <a:lvl3pPr>
              <a:defRPr>
                <a:solidFill>
                  <a:srgbClr val="646464"/>
                </a:solidFill>
              </a:defRPr>
            </a:lvl3pPr>
            <a:lvl4pPr>
              <a:defRPr>
                <a:solidFill>
                  <a:srgbClr val="646464"/>
                </a:solidFill>
              </a:defRPr>
            </a:lvl4pPr>
            <a:lvl5pPr>
              <a:defRPr>
                <a:solidFill>
                  <a:srgbClr val="646464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65624998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63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63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457202" y="6449209"/>
            <a:ext cx="298376" cy="123111"/>
          </a:xfrm>
        </p:spPr>
        <p:txBody>
          <a:bodyPr/>
          <a:lstStyle/>
          <a:p>
            <a:fld id="{1DFF4ECC-2EB9-4399-B072-B53D46A7B74E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10" name="Straight Connector 9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31862816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4191"/>
                </a:solidFill>
              </a:defRPr>
            </a:lvl1pPr>
          </a:lstStyle>
          <a:p>
            <a:fld id="{1DFF4ECC-2EB9-4399-B072-B53D46A7B74E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28409" y="6453384"/>
            <a:ext cx="755999" cy="122745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r>
              <a:rPr lang="en-US" smtClean="0"/>
              <a:t>Company Confidential    © 2011 Nokia   HRLT Day 2</a:t>
            </a:r>
            <a:endParaRPr lang="en-GB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rgbClr val="12419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22595544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DFF4ECC-2EB9-4399-B072-B53D46A7B74E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994" y="2565078"/>
            <a:ext cx="4200525" cy="2376091"/>
          </a:xfr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38166" y="6442476"/>
            <a:ext cx="899997" cy="298892"/>
          </a:xfrm>
          <a:prstGeom prst="rect">
            <a:avLst/>
          </a:prstGeom>
        </p:spPr>
      </p:pic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44971" y="285728"/>
            <a:ext cx="8388000" cy="12821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Company Confidential    © 2011 Nokia   HRLT Day 2</a:t>
            </a:r>
            <a:endParaRPr lang="en-GB" dirty="0">
              <a:solidFill>
                <a:srgbClr val="FFFFFF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78822308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Pr>
        <a:solidFill>
          <a:srgbClr val="11357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994" y="2565078"/>
            <a:ext cx="4200525" cy="2376091"/>
          </a:xfrm>
        </p:spPr>
        <p:txBody>
          <a:bodyPr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44971" y="287890"/>
            <a:ext cx="8388000" cy="12821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038166" y="6442476"/>
            <a:ext cx="899997" cy="298892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57202" y="6449209"/>
            <a:ext cx="298376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DFF4ECC-2EB9-4399-B072-B53D46A7B74E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Company Confidential    © 2011 Nokia   HRLT Day 2</a:t>
            </a:r>
            <a:endParaRPr lang="en-GB" dirty="0">
              <a:solidFill>
                <a:srgbClr val="FFFFFF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 userDrawn="1"/>
        </p:nvCxnSpPr>
        <p:spPr>
          <a:xfrm flipV="1">
            <a:off x="39553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flipV="1">
            <a:off x="1115616" y="6426000"/>
            <a:ext cx="0" cy="432000"/>
          </a:xfrm>
          <a:prstGeom prst="line">
            <a:avLst/>
          </a:prstGeom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39374046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08336A-F5EB-4DBD-A525-F2F3BA264B2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02803149"/>
      </p:ext>
    </p:extLst>
  </p:cSld>
  <p:clrMapOvr>
    <a:masterClrMapping/>
  </p:clrMapOvr>
  <p:transition>
    <p:wipe dir="d"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D3B827-E2CF-4DE5-A73E-79B22BB5E2CA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43B756-A4EA-4B82-B7F0-4842B63C87A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c" descr="Company Confidential"/>
          <p:cNvSpPr txBox="1"/>
          <p:nvPr userDrawn="1"/>
        </p:nvSpPr>
        <p:spPr>
          <a:xfrm>
            <a:off x="0" y="6642100"/>
            <a:ext cx="9144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5888256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63A392-573A-4E17-8ECB-A8C1EAF23E46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438EA7-859C-4CC7-B357-A16C993F345E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2913619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F60392-5E26-40FB-9F48-2AE8F7DE069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8EA9B-2A65-4F58-9EA5-F95D9C6E68F3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2613327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0EBC6C-D876-4975-80F4-883A43E015C5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7DCD45-E7EE-49B6-8F20-35051E244E3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1394805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50B8D0-08E5-435A-A4F6-64D164521F5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D8FF010-2EB9-47A9-856E-9F18D26EBD7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333438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935D1B-0581-46FD-9F1B-B9B0DBA8BDD3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E71CFD-7219-49C5-AC3C-429F0F68EF05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019872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0E4C61-E117-40D3-99B6-0D055D1A9146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7E9ECD-02E0-44F2-9D26-BF68F3863D4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58404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BAD47A-1CDD-4711-AE61-9B8DE71963CF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3E2671-5F37-4888-9564-4AD06236C60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11179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6641A4-3A52-48D6-AC0B-812244424781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25C3A4-0321-48C6-970F-D6F70BE2FAFD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4328154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6BE86A-B1D0-4FDD-B3DF-945E827C4C60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EDAA0E-0F3E-49FB-9469-357C3DB67811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083418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66"/>
            <a:ext cx="2202474" cy="6100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985" y="66"/>
            <a:ext cx="6471138" cy="6100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F16F68-252E-4B4B-BC9A-516EC3207F7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3047923"/>
      </p:ext>
    </p:extLst>
  </p:cSld>
  <p:clrMapOvr>
    <a:masterClrMapping/>
  </p:clrMapOvr>
  <p:transition>
    <p:wipe dir="d"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3CC358-C20A-4EB3-BE46-AE98A390841D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01CBF2-3BF1-4AB2-A577-E272F015229A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576944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780" y="66"/>
            <a:ext cx="8804031" cy="11287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78780" y="1128713"/>
            <a:ext cx="8805497" cy="49720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06622" y="6524625"/>
            <a:ext cx="3909646" cy="192088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</a:pPr>
            <a:r>
              <a:rPr lang="en-US" smtClean="0">
                <a:solidFill>
                  <a:srgbClr val="000000"/>
                </a:solidFill>
              </a:rPr>
              <a:t>© 2008  Nokia   V1-Filename.ppt / YYYY-MM-DD / Initials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54065702"/>
      </p:ext>
    </p:extLst>
  </p:cSld>
  <p:clrMapOvr>
    <a:masterClrMapping/>
  </p:clrMapOvr>
  <p:transition>
    <p:wipe dir="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FFFFFF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7529149" y="3151303"/>
            <a:ext cx="1356946" cy="366713"/>
            <a:chOff x="5138" y="1985"/>
            <a:chExt cx="926" cy="231"/>
          </a:xfrm>
        </p:grpSpPr>
        <p:pic>
          <p:nvPicPr>
            <p:cNvPr id="6" name="Picture 6" descr="Logotype_White_33mm300dpi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5" y="2041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5138" y="1985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1450" y="1574868"/>
            <a:ext cx="6553200" cy="216852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1708" y="4029075"/>
            <a:ext cx="6553200" cy="1752600"/>
          </a:xfrm>
        </p:spPr>
        <p:txBody>
          <a:bodyPr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Nokia Large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540728" y="6524625"/>
            <a:ext cx="3909646" cy="1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FFFFFF"/>
                </a:solidFill>
              </a:rPr>
              <a:t>© 2008  Nokia 	 V1-Filename.ppt / YYYY-MM-DD / Initial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99295" y="6518275"/>
            <a:ext cx="344366" cy="1984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D08BE4F-9A6E-4965-AD38-C81F9D56DB5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0074571"/>
      </p:ext>
    </p:extLst>
  </p:cSld>
  <p:clrMapOvr>
    <a:masterClrMapping/>
  </p:clrMapOvr>
  <p:transition>
    <p:wipe dir="d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B1926E-891F-47A9-81AD-187EE399270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60374733"/>
      </p:ext>
    </p:extLst>
  </p:cSld>
  <p:clrMapOvr>
    <a:masterClrMapping/>
  </p:clrMapOvr>
  <p:transition>
    <p:wipe dir="d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9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0" indent="0">
              <a:buNone/>
              <a:defRPr sz="1400"/>
            </a:lvl5pPr>
            <a:lvl6pPr marL="2285725" indent="0">
              <a:buNone/>
              <a:defRPr sz="1400"/>
            </a:lvl6pPr>
            <a:lvl7pPr marL="2742870" indent="0">
              <a:buNone/>
              <a:defRPr sz="1400"/>
            </a:lvl7pPr>
            <a:lvl8pPr marL="3200016" indent="0">
              <a:buNone/>
              <a:defRPr sz="1400"/>
            </a:lvl8pPr>
            <a:lvl9pPr marL="365716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30BB63-E4E8-483F-9856-5E335B2245B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4618932"/>
      </p:ext>
    </p:extLst>
  </p:cSld>
  <p:clrMapOvr>
    <a:masterClrMapping/>
  </p:clrMapOvr>
  <p:transition>
    <p:wipe dir="d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83" y="1128713"/>
            <a:ext cx="4331677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134" y="1128713"/>
            <a:ext cx="4333143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17431A-1427-413C-9CF1-FF50EC9C446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40875782"/>
      </p:ext>
    </p:extLst>
  </p:cSld>
  <p:clrMapOvr>
    <a:masterClrMapping/>
  </p:clrMapOvr>
  <p:transition>
    <p:wipe dir="d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6" y="1535115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6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8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27AF2-1958-49AA-AC01-5291ED29192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62503578"/>
      </p:ext>
    </p:extLst>
  </p:cSld>
  <p:clrMapOvr>
    <a:masterClrMapping/>
  </p:clrMapOvr>
  <p:transition>
    <p:wipe dir="d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701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0" indent="0">
              <a:buNone/>
              <a:defRPr sz="1400"/>
            </a:lvl5pPr>
            <a:lvl6pPr marL="2285725" indent="0">
              <a:buNone/>
              <a:defRPr sz="1400"/>
            </a:lvl6pPr>
            <a:lvl7pPr marL="2742870" indent="0">
              <a:buNone/>
              <a:defRPr sz="1400"/>
            </a:lvl7pPr>
            <a:lvl8pPr marL="3200016" indent="0">
              <a:buNone/>
              <a:defRPr sz="1400"/>
            </a:lvl8pPr>
            <a:lvl9pPr marL="365716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30BB63-E4E8-483F-9856-5E335B2245B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70412951"/>
      </p:ext>
    </p:extLst>
  </p:cSld>
  <p:clrMapOvr>
    <a:masterClrMapping/>
  </p:clrMapOvr>
  <p:transition>
    <p:wipe dir="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5AE401-534B-40D1-BD08-403A50EF2D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21482791"/>
      </p:ext>
    </p:extLst>
  </p:cSld>
  <p:clrMapOvr>
    <a:masterClrMapping/>
  </p:clrMapOvr>
  <p:transition>
    <p:wipe dir="d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0071D3-45F8-4D64-950E-1E865FCBEB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7938811"/>
      </p:ext>
    </p:extLst>
  </p:cSld>
  <p:clrMapOvr>
    <a:masterClrMapping/>
  </p:clrMapOvr>
  <p:transition>
    <p:wipe dir="d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111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1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135C49-6EEE-469F-BDC2-90363C18DC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1940810"/>
      </p:ext>
    </p:extLst>
  </p:cSld>
  <p:clrMapOvr>
    <a:masterClrMapping/>
  </p:clrMapOvr>
  <p:transition>
    <p:wipe dir="d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F4BA74-8AB9-461E-AC35-CCDE03D8B47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62498273"/>
      </p:ext>
    </p:extLst>
  </p:cSld>
  <p:clrMapOvr>
    <a:masterClrMapping/>
  </p:clrMapOvr>
  <p:transition>
    <p:wipe dir="d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08336A-F5EB-4DBD-A525-F2F3BA264B2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0438642"/>
      </p:ext>
    </p:extLst>
  </p:cSld>
  <p:clrMapOvr>
    <a:masterClrMapping/>
  </p:clrMapOvr>
  <p:transition>
    <p:wipe dir="d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63"/>
            <a:ext cx="2202474" cy="6100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985" y="63"/>
            <a:ext cx="6471138" cy="6100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F16F68-252E-4B4B-BC9A-516EC3207F7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06479584"/>
      </p:ext>
    </p:extLst>
  </p:cSld>
  <p:clrMapOvr>
    <a:masterClrMapping/>
  </p:clrMapOvr>
  <p:transition>
    <p:wipe dir="d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780" y="66"/>
            <a:ext cx="8804031" cy="11287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78780" y="1128713"/>
            <a:ext cx="8805497" cy="49720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06622" y="6524625"/>
            <a:ext cx="3909646" cy="192088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</a:pPr>
            <a:r>
              <a:rPr lang="en-US" smtClean="0">
                <a:solidFill>
                  <a:srgbClr val="000000"/>
                </a:solidFill>
              </a:rPr>
              <a:t>© 2008  Nokia   V1-Filename.ppt / YYYY-MM-DD / Initials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35855335"/>
      </p:ext>
    </p:extLst>
  </p:cSld>
  <p:clrMapOvr>
    <a:masterClrMapping/>
  </p:clrMapOvr>
  <p:transition>
    <p:wipe dir="d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FFFFFF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7529149" y="3151285"/>
            <a:ext cx="1356946" cy="366713"/>
            <a:chOff x="5138" y="1985"/>
            <a:chExt cx="926" cy="231"/>
          </a:xfrm>
        </p:grpSpPr>
        <p:pic>
          <p:nvPicPr>
            <p:cNvPr id="6" name="Picture 6" descr="Logotype_White_33mm300dpi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5315" y="2041"/>
              <a:ext cx="749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5138" y="1985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1450" y="1574848"/>
            <a:ext cx="6553200" cy="216852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 Master title style</a:t>
            </a:r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1708" y="4029075"/>
            <a:ext cx="6553200" cy="1752600"/>
          </a:xfrm>
        </p:spPr>
        <p:txBody>
          <a:bodyPr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Nokia Large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540728" y="6524625"/>
            <a:ext cx="3909646" cy="1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© 2008  Nokia 	 V1-Filename.ppt / YYYY-MM-DD / Initial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99295" y="6518275"/>
            <a:ext cx="344366" cy="198438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DC5C701-8E59-46BF-89F4-BACE7A4BC0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74247480"/>
      </p:ext>
    </p:extLst>
  </p:cSld>
  <p:clrMapOvr>
    <a:masterClrMapping/>
  </p:clrMapOvr>
  <p:transition>
    <p:wipe dir="d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D190CAC-4246-4F05-91C2-79B2C0B69ED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5292039"/>
      </p:ext>
    </p:extLst>
  </p:cSld>
  <p:clrMapOvr>
    <a:masterClrMapping/>
  </p:clrMapOvr>
  <p:transition>
    <p:wipe dir="d"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7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0" indent="0">
              <a:buNone/>
              <a:defRPr sz="1400"/>
            </a:lvl5pPr>
            <a:lvl6pPr marL="2285725" indent="0">
              <a:buNone/>
              <a:defRPr sz="1400"/>
            </a:lvl6pPr>
            <a:lvl7pPr marL="2742870" indent="0">
              <a:buNone/>
              <a:defRPr sz="1400"/>
            </a:lvl7pPr>
            <a:lvl8pPr marL="3200016" indent="0">
              <a:buNone/>
              <a:defRPr sz="1400"/>
            </a:lvl8pPr>
            <a:lvl9pPr marL="365716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DDA675F-DD6D-4C98-BB66-ED30287E404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30394539"/>
      </p:ext>
    </p:extLst>
  </p:cSld>
  <p:clrMapOvr>
    <a:masterClrMapping/>
  </p:clrMapOvr>
  <p:transition>
    <p:wipe dir="d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83" y="1128713"/>
            <a:ext cx="4331677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134" y="1128713"/>
            <a:ext cx="4333143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17431A-1427-413C-9CF1-FF50EC9C446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13204918"/>
      </p:ext>
    </p:extLst>
  </p:cSld>
  <p:clrMapOvr>
    <a:masterClrMapping/>
  </p:clrMapOvr>
  <p:transition>
    <p:wipe dir="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83" y="1128713"/>
            <a:ext cx="4331677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134" y="1128713"/>
            <a:ext cx="4333143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DFB6B4F-BB75-41C0-8649-148DE98F8F8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8785020"/>
      </p:ext>
    </p:extLst>
  </p:cSld>
  <p:clrMapOvr>
    <a:masterClrMapping/>
  </p:clrMapOvr>
  <p:transition>
    <p:wipe dir="d"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6" y="1535115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6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0B30788-B8A6-4558-A86A-A0476F28F92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62110825"/>
      </p:ext>
    </p:extLst>
  </p:cSld>
  <p:clrMapOvr>
    <a:masterClrMapping/>
  </p:clrMapOvr>
  <p:transition>
    <p:wipe dir="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AA20005-0F82-4D38-8521-CC112620FBF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94488393"/>
      </p:ext>
    </p:extLst>
  </p:cSld>
  <p:clrMapOvr>
    <a:masterClrMapping/>
  </p:clrMapOvr>
  <p:transition>
    <p:wipe dir="d"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760D25C-36B4-49C5-9F9D-B06D6B8B89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70143814"/>
      </p:ext>
    </p:extLst>
  </p:cSld>
  <p:clrMapOvr>
    <a:masterClrMapping/>
  </p:clrMapOvr>
  <p:transition>
    <p:wipe dir="d"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97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1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476D6D2-3ECE-4309-8594-0998EBE6BF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77730257"/>
      </p:ext>
    </p:extLst>
  </p:cSld>
  <p:clrMapOvr>
    <a:masterClrMapping/>
  </p:clrMapOvr>
  <p:transition>
    <p:wipe dir="d"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1B4069F-00A7-4FEB-9EA9-CD0A643BBEA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26597330"/>
      </p:ext>
    </p:extLst>
  </p:cSld>
  <p:clrMapOvr>
    <a:masterClrMapping/>
  </p:clrMapOvr>
  <p:transition>
    <p:wipe dir="d"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8B860CF-94B3-4C87-93EF-E269D70703A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0238926"/>
      </p:ext>
    </p:extLst>
  </p:cSld>
  <p:clrMapOvr>
    <a:masterClrMapping/>
  </p:clrMapOvr>
  <p:transition>
    <p:wipe dir="d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47"/>
            <a:ext cx="2202474" cy="6100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985" y="47"/>
            <a:ext cx="6471138" cy="6100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0E815C9-F8A4-4273-A8D8-F2A829F06CA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43954020"/>
      </p:ext>
    </p:extLst>
  </p:cSld>
  <p:clrMapOvr>
    <a:masterClrMapping/>
  </p:clrMapOvr>
  <p:transition>
    <p:wipe dir="d"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FFFFFF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7529149" y="3151278"/>
            <a:ext cx="1356946" cy="366713"/>
            <a:chOff x="5138" y="1985"/>
            <a:chExt cx="926" cy="231"/>
          </a:xfrm>
        </p:grpSpPr>
        <p:pic>
          <p:nvPicPr>
            <p:cNvPr id="6" name="Picture 6" descr="Logotype_White_33mm300dpi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5" y="2041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5138" y="1985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1450" y="1574843"/>
            <a:ext cx="6553200" cy="216852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1708" y="4029075"/>
            <a:ext cx="6553200" cy="1752600"/>
          </a:xfrm>
        </p:spPr>
        <p:txBody>
          <a:bodyPr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Nokia Large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540728" y="6524625"/>
            <a:ext cx="3909646" cy="1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FFFFFF"/>
                </a:solidFill>
              </a:rPr>
              <a:t>© 2008  Nokia 	 V1-Filename.ppt / YYYY-MM-DD / Initial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99295" y="6518275"/>
            <a:ext cx="344366" cy="1984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D08BE4F-9A6E-4965-AD38-C81F9D56DB5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99260982"/>
      </p:ext>
    </p:extLst>
  </p:cSld>
  <p:clrMapOvr>
    <a:masterClrMapping/>
  </p:clrMapOvr>
  <p:transition>
    <p:wipe dir="d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B1926E-891F-47A9-81AD-187EE399270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1198836"/>
      </p:ext>
    </p:extLst>
  </p:cSld>
  <p:clrMapOvr>
    <a:masterClrMapping/>
  </p:clrMapOvr>
  <p:transition>
    <p:wipe dir="d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6" y="1535115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6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8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27AF2-1958-49AA-AC01-5291ED29192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5365225"/>
      </p:ext>
    </p:extLst>
  </p:cSld>
  <p:clrMapOvr>
    <a:masterClrMapping/>
  </p:clrMapOvr>
  <p:transition>
    <p:wipe dir="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7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0" indent="0">
              <a:buNone/>
              <a:defRPr sz="1400"/>
            </a:lvl5pPr>
            <a:lvl6pPr marL="2285725" indent="0">
              <a:buNone/>
              <a:defRPr sz="1400"/>
            </a:lvl6pPr>
            <a:lvl7pPr marL="2742870" indent="0">
              <a:buNone/>
              <a:defRPr sz="1400"/>
            </a:lvl7pPr>
            <a:lvl8pPr marL="3200016" indent="0">
              <a:buNone/>
              <a:defRPr sz="1400"/>
            </a:lvl8pPr>
            <a:lvl9pPr marL="365716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30BB63-E4E8-483F-9856-5E335B2245B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268262"/>
      </p:ext>
    </p:extLst>
  </p:cSld>
  <p:clrMapOvr>
    <a:masterClrMapping/>
  </p:clrMapOvr>
  <p:transition>
    <p:wipe dir="d"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83" y="1128713"/>
            <a:ext cx="4331677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134" y="1128713"/>
            <a:ext cx="4333143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17431A-1427-413C-9CF1-FF50EC9C446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830350"/>
      </p:ext>
    </p:extLst>
  </p:cSld>
  <p:clrMapOvr>
    <a:masterClrMapping/>
  </p:clrMapOvr>
  <p:transition>
    <p:wipe dir="d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305" y="1535115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305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8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27AF2-1958-49AA-AC01-5291ED29192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75722299"/>
      </p:ext>
    </p:extLst>
  </p:cSld>
  <p:clrMapOvr>
    <a:masterClrMapping/>
  </p:clrMapOvr>
  <p:transition>
    <p:wipe dir="d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5AE401-534B-40D1-BD08-403A50EF2D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71892264"/>
      </p:ext>
    </p:extLst>
  </p:cSld>
  <p:clrMapOvr>
    <a:masterClrMapping/>
  </p:clrMapOvr>
  <p:transition>
    <p:wipe dir="d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0071D3-45F8-4D64-950E-1E865FCBEB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6535369"/>
      </p:ext>
    </p:extLst>
  </p:cSld>
  <p:clrMapOvr>
    <a:masterClrMapping/>
  </p:clrMapOvr>
  <p:transition>
    <p:wipe dir="d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88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1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135C49-6EEE-469F-BDC2-90363C18DC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87032672"/>
      </p:ext>
    </p:extLst>
  </p:cSld>
  <p:clrMapOvr>
    <a:masterClrMapping/>
  </p:clrMapOvr>
  <p:transition>
    <p:wipe dir="d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F4BA74-8AB9-461E-AC35-CCDE03D8B47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68744649"/>
      </p:ext>
    </p:extLst>
  </p:cSld>
  <p:clrMapOvr>
    <a:masterClrMapping/>
  </p:clrMapOvr>
  <p:transition>
    <p:wipe dir="d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08336A-F5EB-4DBD-A525-F2F3BA264B2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5165979"/>
      </p:ext>
    </p:extLst>
  </p:cSld>
  <p:clrMapOvr>
    <a:masterClrMapping/>
  </p:clrMapOvr>
  <p:transition>
    <p:wipe dir="d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38"/>
            <a:ext cx="2202474" cy="6100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985" y="38"/>
            <a:ext cx="6471138" cy="6100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F16F68-252E-4B4B-BC9A-516EC3207F7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74368076"/>
      </p:ext>
    </p:extLst>
  </p:cSld>
  <p:clrMapOvr>
    <a:masterClrMapping/>
  </p:clrMapOvr>
  <p:transition>
    <p:wipe dir="d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780" y="39"/>
            <a:ext cx="8804031" cy="11287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78780" y="1128713"/>
            <a:ext cx="8805497" cy="49720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06622" y="6524625"/>
            <a:ext cx="3909646" cy="192088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</a:pPr>
            <a:r>
              <a:rPr lang="en-US" smtClean="0">
                <a:solidFill>
                  <a:srgbClr val="000000"/>
                </a:solidFill>
              </a:rPr>
              <a:t>© 2008  Nokia   V1-Filename.ppt / YYYY-MM-DD / Initials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1657289"/>
      </p:ext>
    </p:extLst>
  </p:cSld>
  <p:clrMapOvr>
    <a:masterClrMapping/>
  </p:clrMapOvr>
  <p:transition>
    <p:wipe dir="d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5AE401-534B-40D1-BD08-403A50EF2D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75700191"/>
      </p:ext>
    </p:extLst>
  </p:cSld>
  <p:clrMapOvr>
    <a:masterClrMapping/>
  </p:clrMapOvr>
  <p:transition>
    <p:wipe dir="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FFFFFF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7529149" y="3151267"/>
            <a:ext cx="1356946" cy="366713"/>
            <a:chOff x="5138" y="1985"/>
            <a:chExt cx="926" cy="231"/>
          </a:xfrm>
        </p:grpSpPr>
        <p:pic>
          <p:nvPicPr>
            <p:cNvPr id="6" name="Picture 6" descr="Logotype_White_33mm300dpi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5" y="2041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5138" y="1985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1450" y="1574838"/>
            <a:ext cx="6553200" cy="216852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1708" y="4029075"/>
            <a:ext cx="6553200" cy="1752600"/>
          </a:xfrm>
        </p:spPr>
        <p:txBody>
          <a:bodyPr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Nokia Large" pitchFamily="34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540728" y="6524625"/>
            <a:ext cx="3909646" cy="1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FFFFFF"/>
                </a:solidFill>
              </a:rPr>
              <a:t>© 2008  Nokia 	 V1-Filename.ppt / YYYY-MM-DD / Initial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99295" y="6518275"/>
            <a:ext cx="344366" cy="1984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6D08BE4F-9A6E-4965-AD38-C81F9D56DB58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66950230"/>
      </p:ext>
    </p:extLst>
  </p:cSld>
  <p:clrMapOvr>
    <a:masterClrMapping/>
  </p:clrMapOvr>
  <p:transition>
    <p:wipe dir="d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B1926E-891F-47A9-81AD-187EE399270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56865036"/>
      </p:ext>
    </p:extLst>
  </p:cSld>
  <p:clrMapOvr>
    <a:masterClrMapping/>
  </p:clrMapOvr>
  <p:transition>
    <p:wipe dir="d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5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0" indent="0">
              <a:buNone/>
              <a:defRPr sz="1400"/>
            </a:lvl5pPr>
            <a:lvl6pPr marL="2285725" indent="0">
              <a:buNone/>
              <a:defRPr sz="1400"/>
            </a:lvl6pPr>
            <a:lvl7pPr marL="2742870" indent="0">
              <a:buNone/>
              <a:defRPr sz="1400"/>
            </a:lvl7pPr>
            <a:lvl8pPr marL="3200016" indent="0">
              <a:buNone/>
              <a:defRPr sz="1400"/>
            </a:lvl8pPr>
            <a:lvl9pPr marL="365716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30BB63-E4E8-483F-9856-5E335B2245B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5705761"/>
      </p:ext>
    </p:extLst>
  </p:cSld>
  <p:clrMapOvr>
    <a:masterClrMapping/>
  </p:clrMapOvr>
  <p:transition>
    <p:wipe dir="d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83" y="1128713"/>
            <a:ext cx="4331677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134" y="1128713"/>
            <a:ext cx="4333143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17431A-1427-413C-9CF1-FF50EC9C446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6280414"/>
      </p:ext>
    </p:extLst>
  </p:cSld>
  <p:clrMapOvr>
    <a:masterClrMapping/>
  </p:clrMapOvr>
  <p:transition>
    <p:wipe dir="d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98" y="1535115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98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8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27AF2-1958-49AA-AC01-5291ED29192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72576052"/>
      </p:ext>
    </p:extLst>
  </p:cSld>
  <p:clrMapOvr>
    <a:masterClrMapping/>
  </p:clrMapOvr>
  <p:transition>
    <p:wipe dir="d"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45AE401-534B-40D1-BD08-403A50EF2DB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92823683"/>
      </p:ext>
    </p:extLst>
  </p:cSld>
  <p:clrMapOvr>
    <a:masterClrMapping/>
  </p:clrMapOvr>
  <p:transition>
    <p:wipe dir="d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0071D3-45F8-4D64-950E-1E865FCBEB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4324967"/>
      </p:ext>
    </p:extLst>
  </p:cSld>
  <p:clrMapOvr>
    <a:masterClrMapping/>
  </p:clrMapOvr>
  <p:transition>
    <p:wipe dir="d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87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1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135C49-6EEE-469F-BDC2-90363C18DC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9800038"/>
      </p:ext>
    </p:extLst>
  </p:cSld>
  <p:clrMapOvr>
    <a:masterClrMapping/>
  </p:clrMapOvr>
  <p:transition>
    <p:wipe dir="d"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F4BA74-8AB9-461E-AC35-CCDE03D8B47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23208285"/>
      </p:ext>
    </p:extLst>
  </p:cSld>
  <p:clrMapOvr>
    <a:masterClrMapping/>
  </p:clrMapOvr>
  <p:transition>
    <p:wipe dir="d"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08336A-F5EB-4DBD-A525-F2F3BA264B2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61702802"/>
      </p:ext>
    </p:extLst>
  </p:cSld>
  <p:clrMapOvr>
    <a:masterClrMapping/>
  </p:clrMapOvr>
  <p:transition>
    <p:wipe dir="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3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0071D3-45F8-4D64-950E-1E865FCBEB5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95742517"/>
      </p:ext>
    </p:extLst>
  </p:cSld>
  <p:clrMapOvr>
    <a:masterClrMapping/>
  </p:clrMapOvr>
  <p:transition>
    <p:wipe dir="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37"/>
            <a:ext cx="2202474" cy="6100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985" y="37"/>
            <a:ext cx="6471138" cy="6100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F16F68-252E-4B4B-BC9A-516EC3207F7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3913683"/>
      </p:ext>
    </p:extLst>
  </p:cSld>
  <p:clrMapOvr>
    <a:masterClrMapping/>
  </p:clrMapOvr>
  <p:transition>
    <p:wipe dir="d"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8780" y="39"/>
            <a:ext cx="8804031" cy="112871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78780" y="1128713"/>
            <a:ext cx="8805497" cy="49720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06622" y="6524625"/>
            <a:ext cx="3909646" cy="192088"/>
          </a:xfrm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</a:pPr>
            <a:r>
              <a:rPr lang="en-US" smtClean="0">
                <a:solidFill>
                  <a:srgbClr val="000000"/>
                </a:solidFill>
              </a:rPr>
              <a:t>© 2008  Nokia   V1-Filename.ppt / YYYY-MM-DD / Initials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9040139"/>
      </p:ext>
    </p:extLst>
  </p:cSld>
  <p:clrMapOvr>
    <a:masterClrMapping/>
  </p:clrMapOvr>
  <p:transition>
    <p:wipe dir="d"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FFFFFF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7529149" y="3151254"/>
            <a:ext cx="1356946" cy="366713"/>
            <a:chOff x="5138" y="1985"/>
            <a:chExt cx="926" cy="231"/>
          </a:xfrm>
        </p:grpSpPr>
        <p:pic>
          <p:nvPicPr>
            <p:cNvPr id="6" name="Picture 6" descr="Logotype_White_33mm300dpi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5315" y="2041"/>
              <a:ext cx="749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5138" y="1985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1450" y="1574829"/>
            <a:ext cx="6553200" cy="216852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 Master title style</a:t>
            </a:r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1708" y="4029075"/>
            <a:ext cx="6553200" cy="1752600"/>
          </a:xfrm>
        </p:spPr>
        <p:txBody>
          <a:bodyPr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Nokia Large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540728" y="6524625"/>
            <a:ext cx="3909646" cy="1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© 2008  Nokia 	 V1-Filename.ppt / YYYY-MM-DD / Initial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99295" y="6518275"/>
            <a:ext cx="344366" cy="198438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DC5C701-8E59-46BF-89F4-BACE7A4BC0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17000208"/>
      </p:ext>
    </p:extLst>
  </p:cSld>
  <p:clrMapOvr>
    <a:masterClrMapping/>
  </p:clrMapOvr>
  <p:transition>
    <p:wipe dir="d"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D190CAC-4246-4F05-91C2-79B2C0B69ED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58620952"/>
      </p:ext>
    </p:extLst>
  </p:cSld>
  <p:clrMapOvr>
    <a:masterClrMapping/>
  </p:clrMapOvr>
  <p:transition>
    <p:wipe dir="d"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694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0" indent="0">
              <a:buNone/>
              <a:defRPr sz="1400"/>
            </a:lvl5pPr>
            <a:lvl6pPr marL="2285725" indent="0">
              <a:buNone/>
              <a:defRPr sz="1400"/>
            </a:lvl6pPr>
            <a:lvl7pPr marL="2742870" indent="0">
              <a:buNone/>
              <a:defRPr sz="1400"/>
            </a:lvl7pPr>
            <a:lvl8pPr marL="3200016" indent="0">
              <a:buNone/>
              <a:defRPr sz="1400"/>
            </a:lvl8pPr>
            <a:lvl9pPr marL="365716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DDA675F-DD6D-4C98-BB66-ED30287E404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86665313"/>
      </p:ext>
    </p:extLst>
  </p:cSld>
  <p:clrMapOvr>
    <a:masterClrMapping/>
  </p:clrMapOvr>
  <p:transition>
    <p:wipe dir="d"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78781" y="1128713"/>
            <a:ext cx="4331677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51133" y="1128713"/>
            <a:ext cx="4333143" cy="49720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DFB6B4F-BB75-41C0-8649-148DE98F8F8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31068056"/>
      </p:ext>
    </p:extLst>
  </p:cSld>
  <p:clrMapOvr>
    <a:masterClrMapping/>
  </p:clrMapOvr>
  <p:transition>
    <p:wipe dir="d"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92" y="1535115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92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0B30788-B8A6-4558-A86A-A0476F28F92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26103883"/>
      </p:ext>
    </p:extLst>
  </p:cSld>
  <p:clrMapOvr>
    <a:masterClrMapping/>
  </p:clrMapOvr>
  <p:transition>
    <p:wipe dir="d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AA20005-0F82-4D38-8521-CC112620FBF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99670391"/>
      </p:ext>
    </p:extLst>
  </p:cSld>
  <p:clrMapOvr>
    <a:masterClrMapping/>
  </p:clrMapOvr>
  <p:transition>
    <p:wipe dir="d"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760D25C-36B4-49C5-9F9D-B06D6B8B893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82481397"/>
      </p:ext>
    </p:extLst>
  </p:cSld>
  <p:clrMapOvr>
    <a:masterClrMapping/>
  </p:clrMapOvr>
  <p:transition>
    <p:wipe dir="d"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77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7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476D6D2-3ECE-4309-8594-0998EBE6BFD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32990096"/>
      </p:ext>
    </p:extLst>
  </p:cSld>
  <p:clrMapOvr>
    <a:masterClrMapping/>
  </p:clrMapOvr>
  <p:transition>
    <p:wipe dir="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11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8" y="143511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135C49-6EEE-469F-BDC2-90363C18DC4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89455388"/>
      </p:ext>
    </p:extLst>
  </p:cSld>
  <p:clrMapOvr>
    <a:masterClrMapping/>
  </p:clrMapOvr>
  <p:transition>
    <p:wipe dir="d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1B4069F-00A7-4FEB-9EA9-CD0A643BBEA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7813573"/>
      </p:ext>
    </p:extLst>
  </p:cSld>
  <p:clrMapOvr>
    <a:masterClrMapping/>
  </p:clrMapOvr>
  <p:transition>
    <p:wipe dir="d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D8B860CF-94B3-4C87-93EF-E269D70703A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29612772"/>
      </p:ext>
    </p:extLst>
  </p:cSld>
  <p:clrMapOvr>
    <a:masterClrMapping/>
  </p:clrMapOvr>
  <p:transition>
    <p:wipe dir="d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1800" y="27"/>
            <a:ext cx="2202474" cy="6100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69985" y="27"/>
            <a:ext cx="6471138" cy="6100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A0E815C9-F8A4-4273-A8D8-F2A829F06CA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79202616"/>
      </p:ext>
    </p:extLst>
  </p:cSld>
  <p:clrMapOvr>
    <a:masterClrMapping/>
  </p:clrMapOvr>
  <p:transition>
    <p:wipe dir="d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9388" y="381028"/>
            <a:ext cx="6913562" cy="1824567"/>
          </a:xfrm>
        </p:spPr>
        <p:txBody>
          <a:bodyPr/>
          <a:lstStyle>
            <a:lvl1pPr>
              <a:lnSpc>
                <a:spcPct val="90000"/>
              </a:lnSpc>
              <a:defRPr sz="4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475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79388" y="2208363"/>
            <a:ext cx="4392612" cy="2173816"/>
          </a:xfrm>
        </p:spPr>
        <p:txBody>
          <a:bodyPr anchor="b"/>
          <a:lstStyle>
            <a:lvl1pPr marL="0" indent="0" algn="r">
              <a:lnSpc>
                <a:spcPct val="85000"/>
              </a:lnSpc>
              <a:spcBef>
                <a:spcPct val="0"/>
              </a:spcBef>
              <a:buFontTx/>
              <a:buNone/>
              <a:defRPr sz="2400">
                <a:solidFill>
                  <a:srgbClr val="AFD4F0"/>
                </a:solidFill>
              </a:defRPr>
            </a:lvl1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044AA69A-8F51-482D-A639-E5114D49C769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srgbClr val="FFFFFF"/>
                </a:solidFill>
              </a:rPr>
              <a:t>Company Confidential. ©2011 Nokia</a:t>
            </a: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39564430"/>
      </p:ext>
    </p:extLst>
  </p:cSld>
  <p:clrMapOvr>
    <a:masterClrMapping/>
  </p:clrMapOvr>
  <p:transition>
    <p:wipe dir="r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tx2">
                  <a:lumMod val="20000"/>
                  <a:lumOff val="80000"/>
                </a:schemeClr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tx2">
                  <a:lumMod val="20000"/>
                  <a:lumOff val="80000"/>
                </a:schemeClr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tx2">
                  <a:lumMod val="20000"/>
                  <a:lumOff val="80000"/>
                </a:schemeClr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tx2">
                  <a:lumMod val="20000"/>
                  <a:lumOff val="80000"/>
                </a:schemeClr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tx2">
                  <a:lumMod val="20000"/>
                  <a:lumOff val="80000"/>
                </a:schemeClr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fi-FI" dirty="0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F1437E50-E233-4432-9441-9E4A0F1AD638}" type="slidenum">
              <a:rPr lang="en-US" smtClean="0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FFFFFF"/>
                </a:solidFill>
              </a:rPr>
              <a:t>Company Confidential. ©2011 Nokia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1708040"/>
      </p:ext>
    </p:extLst>
  </p:cSld>
  <p:clrMapOvr>
    <a:masterClrMapping/>
  </p:clrMapOvr>
  <p:transition>
    <p:wipe dir="r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1353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2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1886773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299971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82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5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9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8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7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1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3532086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1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1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3213853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115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45" indent="0">
              <a:buNone/>
              <a:defRPr sz="2000" b="1"/>
            </a:lvl2pPr>
            <a:lvl3pPr marL="914290" indent="0">
              <a:buNone/>
              <a:defRPr sz="1800" b="1"/>
            </a:lvl3pPr>
            <a:lvl4pPr marL="1371435" indent="0">
              <a:buNone/>
              <a:defRPr sz="1600" b="1"/>
            </a:lvl4pPr>
            <a:lvl5pPr marL="1828580" indent="0">
              <a:buNone/>
              <a:defRPr sz="1600" b="1"/>
            </a:lvl5pPr>
            <a:lvl6pPr marL="2285725" indent="0">
              <a:buNone/>
              <a:defRPr sz="1600" b="1"/>
            </a:lvl6pPr>
            <a:lvl7pPr marL="2742870" indent="0">
              <a:buNone/>
              <a:defRPr sz="1600" b="1"/>
            </a:lvl7pPr>
            <a:lvl8pPr marL="3200016" indent="0">
              <a:buNone/>
              <a:defRPr sz="1600" b="1"/>
            </a:lvl8pPr>
            <a:lvl9pPr marL="3657162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600388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040477"/>
              </a:buClr>
              <a:defRPr/>
            </a:pPr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6" name="Rectangle 12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F4BA74-8AB9-461E-AC35-CCDE03D8B47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44563894"/>
      </p:ext>
    </p:extLst>
  </p:cSld>
  <p:clrMapOvr>
    <a:masterClrMapping/>
  </p:clrMapOvr>
  <p:transition>
    <p:wipe dir="d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173295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7327858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279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1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788403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0" indent="0">
              <a:buNone/>
              <a:defRPr sz="2000"/>
            </a:lvl5pPr>
            <a:lvl6pPr marL="2285725" indent="0">
              <a:buNone/>
              <a:defRPr sz="2000"/>
            </a:lvl6pPr>
            <a:lvl7pPr marL="2742870" indent="0">
              <a:buNone/>
              <a:defRPr sz="2000"/>
            </a:lvl7pPr>
            <a:lvl8pPr marL="3200016" indent="0">
              <a:buNone/>
              <a:defRPr sz="2000"/>
            </a:lvl8pPr>
            <a:lvl9pPr marL="3657162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0" indent="0">
              <a:buNone/>
              <a:defRPr sz="900"/>
            </a:lvl5pPr>
            <a:lvl6pPr marL="2285725" indent="0">
              <a:buNone/>
              <a:defRPr sz="900"/>
            </a:lvl6pPr>
            <a:lvl7pPr marL="2742870" indent="0">
              <a:buNone/>
              <a:defRPr sz="900"/>
            </a:lvl7pPr>
            <a:lvl8pPr marL="3200016" indent="0">
              <a:buNone/>
              <a:defRPr sz="900"/>
            </a:lvl8pPr>
            <a:lvl9pPr marL="365716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2296328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3706497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865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865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0609235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178780" y="229"/>
            <a:ext cx="8805497" cy="61007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206622" y="6524625"/>
            <a:ext cx="3909646" cy="192088"/>
          </a:xfrm>
        </p:spPr>
        <p:txBody>
          <a:bodyPr/>
          <a:lstStyle>
            <a:lvl1pPr>
              <a:defRPr/>
            </a:lvl1pPr>
          </a:lstStyle>
          <a:p>
            <a:fld id="{FAAACDBC-50A4-4B03-B74B-C9427D91E85F}" type="slidenum">
              <a:rPr lang="en-US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r>
              <a:rPr lang="en-US">
                <a:solidFill>
                  <a:prstClr val="black">
                    <a:tint val="75000"/>
                  </a:prstClr>
                </a:solidFill>
              </a:rPr>
              <a:t>       © 2005  Nokia 	EMS_SP_Pre-Reading_20080404.ppt / 2008-04-04 / JK</a:t>
            </a:r>
          </a:p>
        </p:txBody>
      </p:sp>
    </p:spTree>
    <p:extLst>
      <p:ext uri="{BB962C8B-B14F-4D97-AF65-F5344CB8AC3E}">
        <p14:creationId xmlns:p14="http://schemas.microsoft.com/office/powerpoint/2010/main" xmlns="" val="3546364222"/>
      </p:ext>
    </p:extLst>
  </p:cSld>
  <p:clrMapOvr>
    <a:masterClrMapping/>
  </p:clrMapOvr>
  <p:transition>
    <p:wipe dir="d"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FFFFFF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5" name="Group 9"/>
          <p:cNvGrpSpPr>
            <a:grpSpLocks/>
          </p:cNvGrpSpPr>
          <p:nvPr/>
        </p:nvGrpSpPr>
        <p:grpSpPr bwMode="auto">
          <a:xfrm>
            <a:off x="7529149" y="3152168"/>
            <a:ext cx="1356946" cy="366713"/>
            <a:chOff x="5138" y="1985"/>
            <a:chExt cx="926" cy="231"/>
          </a:xfrm>
        </p:grpSpPr>
        <p:pic>
          <p:nvPicPr>
            <p:cNvPr id="6" name="Picture 6" descr="Logotype_White_33mm300dpi"/>
            <p:cNvPicPr>
              <a:picLocks noChangeAspect="1" noChangeArrowheads="1"/>
            </p:cNvPicPr>
            <p:nvPr/>
          </p:nvPicPr>
          <p:blipFill>
            <a:blip r:embed="rId2"/>
            <a:srcRect/>
            <a:stretch>
              <a:fillRect/>
            </a:stretch>
          </p:blipFill>
          <p:spPr bwMode="auto">
            <a:xfrm>
              <a:off x="5315" y="2041"/>
              <a:ext cx="749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5138" y="1985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1059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71450" y="1575055"/>
            <a:ext cx="6553200" cy="2168525"/>
          </a:xfrm>
        </p:spPr>
        <p:txBody>
          <a:bodyPr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Title Master title style</a:t>
            </a:r>
          </a:p>
        </p:txBody>
      </p:sp>
      <p:sp>
        <p:nvSpPr>
          <p:cNvPr id="1105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1708" y="4029075"/>
            <a:ext cx="6553200" cy="1752600"/>
          </a:xfrm>
        </p:spPr>
        <p:txBody>
          <a:bodyPr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Nokia Large" pitchFamily="34" charset="0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540728" y="6524625"/>
            <a:ext cx="3909646" cy="1920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© 2008  Nokia 	 V1-Filename.ppt / YYYY-MM-DD / Initials</a:t>
            </a:r>
          </a:p>
        </p:txBody>
      </p:sp>
      <p:sp>
        <p:nvSpPr>
          <p:cNvPr id="9" name="Rectangle 10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99295" y="6518275"/>
            <a:ext cx="344366" cy="198438"/>
          </a:xfrm>
        </p:spPr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DC5C701-8E59-46BF-89F4-BACE7A4BC00E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98897707"/>
      </p:ext>
    </p:extLst>
  </p:cSld>
  <p:clrMapOvr>
    <a:masterClrMapping/>
  </p:clrMapOvr>
  <p:transition>
    <p:wipe dir="d"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D190CAC-4246-4F05-91C2-79B2C0B69ED9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13691118"/>
      </p:ext>
    </p:extLst>
  </p:cSld>
  <p:clrMapOvr>
    <a:masterClrMapping/>
  </p:clrMapOvr>
  <p:transition>
    <p:wipe dir="d"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35" y="440786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0" indent="0">
              <a:buNone/>
              <a:defRPr sz="1400"/>
            </a:lvl5pPr>
            <a:lvl6pPr marL="2285725" indent="0">
              <a:buNone/>
              <a:defRPr sz="1400"/>
            </a:lvl6pPr>
            <a:lvl7pPr marL="2742870" indent="0">
              <a:buNone/>
              <a:defRPr sz="1400"/>
            </a:lvl7pPr>
            <a:lvl8pPr marL="3200016" indent="0">
              <a:buNone/>
              <a:defRPr sz="1400"/>
            </a:lvl8pPr>
            <a:lvl9pPr marL="3657162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000000"/>
                </a:solidFill>
              </a:rPr>
              <a:t>© 2008  Nokia 	 V1-Filename.ppt / YYYY-MM-DD / Initial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DDA675F-DD6D-4C98-BB66-ED30287E404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9644875"/>
      </p:ext>
    </p:extLst>
  </p:cSld>
  <p:clrMapOvr>
    <a:masterClrMapping/>
  </p:clrMapOvr>
  <p:transition>
    <p:wipe dir="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6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0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image" Target="../media/image1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144.xml"/><Relationship Id="rId21" Type="http://schemas.openxmlformats.org/officeDocument/2006/relationships/image" Target="../media/image1.png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143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42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5" Type="http://schemas.openxmlformats.org/officeDocument/2006/relationships/theme" Target="../theme/theme14.xml"/><Relationship Id="rId15" Type="http://schemas.openxmlformats.org/officeDocument/2006/relationships/tags" Target="../tags/tag10.xml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slideLayout" Target="../slideLayouts/slideLayout145.xml"/><Relationship Id="rId9" Type="http://schemas.openxmlformats.org/officeDocument/2006/relationships/tags" Target="../tags/tag4.xml"/><Relationship Id="rId14" Type="http://schemas.openxmlformats.org/officeDocument/2006/relationships/tags" Target="../tags/tag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3.xml"/><Relationship Id="rId13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48.xml"/><Relationship Id="rId7" Type="http://schemas.openxmlformats.org/officeDocument/2006/relationships/slideLayout" Target="../slideLayouts/slideLayout152.xml"/><Relationship Id="rId12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56.xml"/><Relationship Id="rId5" Type="http://schemas.openxmlformats.org/officeDocument/2006/relationships/slideLayout" Target="../slideLayouts/slideLayout150.xml"/><Relationship Id="rId10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9.xml"/><Relationship Id="rId9" Type="http://schemas.openxmlformats.org/officeDocument/2006/relationships/slideLayout" Target="../slideLayouts/slideLayout154.xml"/><Relationship Id="rId1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65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68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heme" Target="../theme/theme17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174.xml"/><Relationship Id="rId7" Type="http://schemas.openxmlformats.org/officeDocument/2006/relationships/slideLayout" Target="../slideLayouts/slideLayout178.xml"/><Relationship Id="rId12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1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76.xml"/><Relationship Id="rId10" Type="http://schemas.openxmlformats.org/officeDocument/2006/relationships/slideLayout" Target="../slideLayouts/slideLayout181.xml"/><Relationship Id="rId4" Type="http://schemas.openxmlformats.org/officeDocument/2006/relationships/slideLayout" Target="../slideLayouts/slideLayout175.xml"/><Relationship Id="rId9" Type="http://schemas.openxmlformats.org/officeDocument/2006/relationships/slideLayout" Target="../slideLayouts/slideLayout180.xml"/><Relationship Id="rId14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1.xml"/><Relationship Id="rId3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90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1" Type="http://schemas.openxmlformats.org/officeDocument/2006/relationships/slideLayout" Target="../slideLayouts/slideLayout194.xml"/><Relationship Id="rId5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193.xml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pn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.xml"/><Relationship Id="rId13" Type="http://schemas.openxmlformats.org/officeDocument/2006/relationships/theme" Target="../theme/theme20.xml"/><Relationship Id="rId3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206.xml"/><Relationship Id="rId2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205.xml"/><Relationship Id="rId5" Type="http://schemas.openxmlformats.org/officeDocument/2006/relationships/slideLayout" Target="../slideLayouts/slideLayout199.xml"/><Relationship Id="rId10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4.xml"/><Relationship Id="rId13" Type="http://schemas.openxmlformats.org/officeDocument/2006/relationships/slideLayout" Target="../slideLayouts/slideLayout219.xml"/><Relationship Id="rId3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213.xml"/><Relationship Id="rId12" Type="http://schemas.openxmlformats.org/officeDocument/2006/relationships/slideLayout" Target="../slideLayouts/slideLayout218.xml"/><Relationship Id="rId2" Type="http://schemas.openxmlformats.org/officeDocument/2006/relationships/slideLayout" Target="../slideLayouts/slideLayout208.xml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Relationship Id="rId11" Type="http://schemas.openxmlformats.org/officeDocument/2006/relationships/slideLayout" Target="../slideLayouts/slideLayout217.xml"/><Relationship Id="rId5" Type="http://schemas.openxmlformats.org/officeDocument/2006/relationships/slideLayout" Target="../slideLayouts/slideLayout211.xml"/><Relationship Id="rId10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7.xml"/><Relationship Id="rId3" Type="http://schemas.openxmlformats.org/officeDocument/2006/relationships/slideLayout" Target="../slideLayouts/slideLayout222.xml"/><Relationship Id="rId7" Type="http://schemas.openxmlformats.org/officeDocument/2006/relationships/slideLayout" Target="../slideLayouts/slideLayout226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21.xml"/><Relationship Id="rId1" Type="http://schemas.openxmlformats.org/officeDocument/2006/relationships/slideLayout" Target="../slideLayouts/slideLayout220.xml"/><Relationship Id="rId6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230.xml"/><Relationship Id="rId5" Type="http://schemas.openxmlformats.org/officeDocument/2006/relationships/slideLayout" Target="../slideLayouts/slideLayout224.xml"/><Relationship Id="rId10" Type="http://schemas.openxmlformats.org/officeDocument/2006/relationships/slideLayout" Target="../slideLayouts/slideLayout229.xml"/><Relationship Id="rId4" Type="http://schemas.openxmlformats.org/officeDocument/2006/relationships/slideLayout" Target="../slideLayouts/slideLayout223.xml"/><Relationship Id="rId9" Type="http://schemas.openxmlformats.org/officeDocument/2006/relationships/slideLayout" Target="../slideLayouts/slideLayout2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84.xml"/><Relationship Id="rId1" Type="http://schemas.openxmlformats.org/officeDocument/2006/relationships/slideLayout" Target="../slideLayouts/slideLayout8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94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9985" y="66"/>
            <a:ext cx="8804031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4" rIns="91430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80" y="1128713"/>
            <a:ext cx="8805497" cy="497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Nokia PowerPoint 2008 Template, A4 </a:t>
            </a:r>
            <a:br>
              <a:rPr lang="en-US" smtClean="0"/>
            </a:br>
            <a:r>
              <a:rPr lang="en-US" smtClean="0"/>
              <a:t>Title font: Nokia Large bold 32 pt</a:t>
            </a:r>
            <a:br>
              <a:rPr lang="en-US" smtClean="0"/>
            </a:br>
            <a:r>
              <a:rPr lang="en-US" smtClean="0"/>
              <a:t>Copy font: Nokia Sans Wide 20 pt (regular, bold or italic)</a:t>
            </a:r>
          </a:p>
          <a:p>
            <a:pPr lvl="0"/>
            <a:r>
              <a:rPr lang="en-US" smtClean="0"/>
              <a:t>1st Level Bullet</a:t>
            </a:r>
          </a:p>
          <a:p>
            <a:pPr lvl="1"/>
            <a:r>
              <a:rPr lang="en-US" smtClean="0"/>
              <a:t>2nd Level Bullet (size: 18 pt)</a:t>
            </a:r>
          </a:p>
          <a:p>
            <a:pPr lvl="2"/>
            <a:r>
              <a:rPr lang="en-US" smtClean="0"/>
              <a:t>3rd Level Bullet (size: 16 pt)</a:t>
            </a:r>
          </a:p>
          <a:p>
            <a:pPr lvl="3"/>
            <a:r>
              <a:rPr lang="en-US" smtClean="0"/>
              <a:t>4th Level Bullet (size: 14 pt)</a:t>
            </a:r>
          </a:p>
          <a:p>
            <a:pPr lvl="0"/>
            <a:r>
              <a:rPr lang="en-US" smtClean="0"/>
              <a:t>Footer (font: Nokia Sans Wide, 8 pt):</a:t>
            </a:r>
            <a:br>
              <a:rPr lang="en-US" smtClean="0"/>
            </a:br>
            <a:r>
              <a:rPr lang="en-US" smtClean="0"/>
              <a:t>“©2008 Nokia   V1 Filename .ppt / yyyy-mm-dd / Initials” is set via “Insert” menu / “Slide number”– NOT via SLIDE MASTER</a:t>
            </a:r>
          </a:p>
          <a:p>
            <a:pPr lvl="0"/>
            <a:r>
              <a:rPr lang="en-US" smtClean="0"/>
              <a:t>Nokia PowerPoint presentations should always be marked with the appropriate level of confidentiality: Company Confidential (default), Confidential or Secret. More info from Corporate Security web.</a:t>
            </a:r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5559" y="6524625"/>
            <a:ext cx="3909646" cy="1920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0000"/>
              </a:lnSpc>
              <a:defRPr sz="800" noProof="1"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  <a:latin typeface="Nokia Sans Wide" pitchFamily="34" charset="0"/>
              </a:rPr>
              <a:t>© 2008  Nokia 	 V1-Filename.ppt / YYYY-MM-DD / Initials</a:t>
            </a:r>
          </a:p>
        </p:txBody>
      </p:sp>
      <p:sp>
        <p:nvSpPr>
          <p:cNvPr id="109573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2054" name="Group 11"/>
          <p:cNvGrpSpPr>
            <a:grpSpLocks/>
          </p:cNvGrpSpPr>
          <p:nvPr/>
        </p:nvGrpSpPr>
        <p:grpSpPr bwMode="auto">
          <a:xfrm>
            <a:off x="7529156" y="6300944"/>
            <a:ext cx="1355481" cy="366713"/>
            <a:chOff x="5138" y="3969"/>
            <a:chExt cx="925" cy="231"/>
          </a:xfrm>
        </p:grpSpPr>
        <p:pic>
          <p:nvPicPr>
            <p:cNvPr id="2056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" y="4025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577" name="Rectangle 9"/>
            <p:cNvSpPr>
              <a:spLocks noChangeArrowheads="1"/>
            </p:cNvSpPr>
            <p:nvPr userDrawn="1"/>
          </p:nvSpPr>
          <p:spPr bwMode="auto">
            <a:xfrm>
              <a:off x="5138" y="3969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4123" y="6518275"/>
            <a:ext cx="344366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spcAft>
                <a:spcPct val="0"/>
              </a:spcAft>
              <a:buClrTx/>
              <a:defRPr sz="800"/>
            </a:lvl1pPr>
          </a:lstStyle>
          <a:p>
            <a:pPr>
              <a:defRPr/>
            </a:pPr>
            <a:fld id="{4647AA11-A057-4090-A2E7-774E3836CBB1}" type="slidenum">
              <a:rPr lang="en-US">
                <a:solidFill>
                  <a:srgbClr val="000000"/>
                </a:solidFill>
                <a:latin typeface="Nokia Sans Wide" pitchFamily="34" charset="0"/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073601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wipe dir="d"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5pPr>
      <a:lvl6pPr marL="45714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6pPr>
      <a:lvl7pPr marL="91429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7pPr>
      <a:lvl8pPr marL="137143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8pPr>
      <a:lvl9pPr marL="182858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9pPr>
    </p:titleStyle>
    <p:bodyStyle>
      <a:lvl1pPr marL="192065" indent="-192065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66670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2pPr>
      <a:lvl3pPr marL="1147625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712708" indent="-185716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4pPr>
      <a:lvl5pPr marL="219366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5pPr>
      <a:lvl6pPr marL="265080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3107952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356509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4022243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9985" y="253"/>
            <a:ext cx="8804031" cy="1128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30" tIns="45714" rIns="91430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80" y="1128713"/>
            <a:ext cx="8805497" cy="4972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Nokia PowerPoint 2008 Template, A4 </a:t>
            </a:r>
            <a:br>
              <a:rPr lang="en-US" smtClean="0"/>
            </a:br>
            <a:r>
              <a:rPr lang="en-US" smtClean="0"/>
              <a:t>Title font: Nokia Large bold 32 pt</a:t>
            </a:r>
            <a:br>
              <a:rPr lang="en-US" smtClean="0"/>
            </a:br>
            <a:r>
              <a:rPr lang="en-US" smtClean="0"/>
              <a:t>Copy font: Nokia Sans Wide 20 pt (regular, bold or italic)</a:t>
            </a:r>
          </a:p>
          <a:p>
            <a:pPr lvl="0"/>
            <a:r>
              <a:rPr lang="en-US" smtClean="0"/>
              <a:t>1st Level Bullet</a:t>
            </a:r>
          </a:p>
          <a:p>
            <a:pPr lvl="1"/>
            <a:r>
              <a:rPr lang="en-US" smtClean="0"/>
              <a:t>2nd Level Bullet (size: 18 pt)</a:t>
            </a:r>
          </a:p>
          <a:p>
            <a:pPr lvl="2"/>
            <a:r>
              <a:rPr lang="en-US" smtClean="0"/>
              <a:t>3rd Level Bullet (size: 16 pt)</a:t>
            </a:r>
          </a:p>
          <a:p>
            <a:pPr lvl="3"/>
            <a:r>
              <a:rPr lang="en-US" smtClean="0"/>
              <a:t>4th Level Bullet (size: 14 pt)</a:t>
            </a:r>
          </a:p>
          <a:p>
            <a:pPr lvl="0"/>
            <a:r>
              <a:rPr lang="en-US" smtClean="0"/>
              <a:t>Footer (font: Nokia Sans Wide, 8 pt):</a:t>
            </a:r>
            <a:br>
              <a:rPr lang="en-US" smtClean="0"/>
            </a:br>
            <a:r>
              <a:rPr lang="en-US" smtClean="0"/>
              <a:t>“©2008 Nokia   V1 Filename .ppt / yyyy-mm-dd / Initials” is set via “Insert” menu / “Slide number”– NOT via SLIDE MASTER</a:t>
            </a:r>
          </a:p>
          <a:p>
            <a:pPr lvl="0"/>
            <a:r>
              <a:rPr lang="en-US" smtClean="0"/>
              <a:t>Nokia PowerPoint presentations should always be marked with the appropriate level of confidentiality: Company Confidential (default), Confidential or Secret. More info from Corporate Security web.</a:t>
            </a:r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5559" y="6524625"/>
            <a:ext cx="3909646" cy="1920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 sz="800" noProof="1"/>
            </a:lvl1pPr>
          </a:lstStyle>
          <a:p>
            <a:pPr eaLnBrk="0" hangingPunct="0"/>
            <a:r>
              <a:rPr lang="en-US">
                <a:solidFill>
                  <a:srgbClr val="000000"/>
                </a:solidFill>
                <a:latin typeface="Nokia Sans Wide" pitchFamily="34" charset="0"/>
              </a:rPr>
              <a:t>© 2008  Nokia 	 V1-Filename.ppt / YYYY-MM-DD / Initials</a:t>
            </a:r>
          </a:p>
        </p:txBody>
      </p:sp>
      <p:sp>
        <p:nvSpPr>
          <p:cNvPr id="109573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1030" name="Group 11"/>
          <p:cNvGrpSpPr>
            <a:grpSpLocks/>
          </p:cNvGrpSpPr>
          <p:nvPr/>
        </p:nvGrpSpPr>
        <p:grpSpPr bwMode="auto">
          <a:xfrm>
            <a:off x="7529156" y="6301789"/>
            <a:ext cx="1355481" cy="366713"/>
            <a:chOff x="5138" y="3969"/>
            <a:chExt cx="925" cy="231"/>
          </a:xfrm>
        </p:grpSpPr>
        <p:pic>
          <p:nvPicPr>
            <p:cNvPr id="1032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5314" y="4025"/>
              <a:ext cx="749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9577" name="Rectangle 9"/>
            <p:cNvSpPr>
              <a:spLocks noChangeArrowheads="1"/>
            </p:cNvSpPr>
            <p:nvPr userDrawn="1"/>
          </p:nvSpPr>
          <p:spPr bwMode="auto">
            <a:xfrm>
              <a:off x="5138" y="3969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4123" y="6518275"/>
            <a:ext cx="344366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spcAft>
                <a:spcPct val="0"/>
              </a:spcAft>
              <a:buClrTx/>
              <a:defRPr sz="800" smtClean="0"/>
            </a:lvl1pPr>
          </a:lstStyle>
          <a:p>
            <a:pPr eaLnBrk="0" hangingPunct="0">
              <a:defRPr/>
            </a:pPr>
            <a:fld id="{EF47019C-2744-4B74-800D-CA5BBA7E4929}" type="slidenum">
              <a:rPr lang="en-US">
                <a:solidFill>
                  <a:srgbClr val="000000"/>
                </a:solidFill>
                <a:latin typeface="Nokia Sans Wide" pitchFamily="34" charset="0"/>
              </a:rPr>
              <a:pPr eaLnBrk="0" hangingPunct="0">
                <a:defRPr/>
              </a:pPr>
              <a:t>‹#›</a:t>
            </a:fld>
            <a:endParaRPr lang="en-US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42303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</p:sldLayoutIdLst>
  <p:transition>
    <p:wipe dir="d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8pPr>
      <a:lvl9pPr marL="182858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9pPr>
    </p:titleStyle>
    <p:bodyStyle>
      <a:lvl1pPr marL="192065" indent="-192065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66670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2pPr>
      <a:lvl3pPr marL="1147625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712708" indent="-185716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4pPr>
      <a:lvl5pPr marL="219366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5pPr>
      <a:lvl6pPr marL="2650807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3107952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3565097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402224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9985" y="25"/>
            <a:ext cx="8804031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4" rIns="91430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80" y="1128713"/>
            <a:ext cx="8805497" cy="497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Nokia PowerPoint 2008 Template, A4 </a:t>
            </a:r>
            <a:br>
              <a:rPr lang="en-US" smtClean="0"/>
            </a:br>
            <a:r>
              <a:rPr lang="en-US" smtClean="0"/>
              <a:t>Title font: Nokia Large bold 32 pt</a:t>
            </a:r>
            <a:br>
              <a:rPr lang="en-US" smtClean="0"/>
            </a:br>
            <a:r>
              <a:rPr lang="en-US" smtClean="0"/>
              <a:t>Copy font: Nokia Sans Wide 20 pt (regular, bold or italic)</a:t>
            </a:r>
          </a:p>
          <a:p>
            <a:pPr lvl="0"/>
            <a:r>
              <a:rPr lang="en-US" smtClean="0"/>
              <a:t>1st Level Bullet</a:t>
            </a:r>
          </a:p>
          <a:p>
            <a:pPr lvl="1"/>
            <a:r>
              <a:rPr lang="en-US" smtClean="0"/>
              <a:t>2nd Level Bullet (size: 18 pt)</a:t>
            </a:r>
          </a:p>
          <a:p>
            <a:pPr lvl="2"/>
            <a:r>
              <a:rPr lang="en-US" smtClean="0"/>
              <a:t>3rd Level Bullet (size: 16 pt)</a:t>
            </a:r>
          </a:p>
          <a:p>
            <a:pPr lvl="3"/>
            <a:r>
              <a:rPr lang="en-US" smtClean="0"/>
              <a:t>4th Level Bullet (size: 14 pt)</a:t>
            </a:r>
          </a:p>
          <a:p>
            <a:pPr lvl="0"/>
            <a:r>
              <a:rPr lang="en-US" smtClean="0"/>
              <a:t>Footer (font: Nokia Sans Wide, 8 pt):</a:t>
            </a:r>
            <a:br>
              <a:rPr lang="en-US" smtClean="0"/>
            </a:br>
            <a:r>
              <a:rPr lang="en-US" smtClean="0"/>
              <a:t>“©2008 Nokia   V1 Filename .ppt / yyyy-mm-dd / Initials” is set via “Insert” menu / “Slide number”– NOT via SLIDE MASTER</a:t>
            </a:r>
          </a:p>
          <a:p>
            <a:pPr lvl="0"/>
            <a:r>
              <a:rPr lang="en-US" smtClean="0"/>
              <a:t>Nokia PowerPoint presentations should always be marked with the appropriate level of confidentiality: Company Confidential (default), Confidential or Secret. More info from Corporate Security web.</a:t>
            </a:r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5559" y="6524625"/>
            <a:ext cx="3909646" cy="1920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0000"/>
              </a:lnSpc>
              <a:defRPr sz="800" noProof="1"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  <a:latin typeface="Nokia Sans Wide" pitchFamily="34" charset="0"/>
              </a:rPr>
              <a:t>© 2008  Nokia 	 V1-Filename.ppt / YYYY-MM-DD / Initials</a:t>
            </a:r>
          </a:p>
        </p:txBody>
      </p:sp>
      <p:sp>
        <p:nvSpPr>
          <p:cNvPr id="109573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2054" name="Group 11"/>
          <p:cNvGrpSpPr>
            <a:grpSpLocks/>
          </p:cNvGrpSpPr>
          <p:nvPr/>
        </p:nvGrpSpPr>
        <p:grpSpPr bwMode="auto">
          <a:xfrm>
            <a:off x="7529156" y="6300928"/>
            <a:ext cx="1355481" cy="366713"/>
            <a:chOff x="5138" y="3969"/>
            <a:chExt cx="925" cy="231"/>
          </a:xfrm>
        </p:grpSpPr>
        <p:pic>
          <p:nvPicPr>
            <p:cNvPr id="2056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" y="4025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577" name="Rectangle 9"/>
            <p:cNvSpPr>
              <a:spLocks noChangeArrowheads="1"/>
            </p:cNvSpPr>
            <p:nvPr userDrawn="1"/>
          </p:nvSpPr>
          <p:spPr bwMode="auto">
            <a:xfrm>
              <a:off x="5138" y="3969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4123" y="6518275"/>
            <a:ext cx="344366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spcAft>
                <a:spcPct val="0"/>
              </a:spcAft>
              <a:buClrTx/>
              <a:defRPr sz="800"/>
            </a:lvl1pPr>
          </a:lstStyle>
          <a:p>
            <a:pPr>
              <a:defRPr/>
            </a:pPr>
            <a:fld id="{4647AA11-A057-4090-A2E7-774E3836CBB1}" type="slidenum">
              <a:rPr lang="en-US">
                <a:solidFill>
                  <a:srgbClr val="000000"/>
                </a:solidFill>
                <a:latin typeface="Nokia Sans Wide" pitchFamily="34" charset="0"/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33398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</p:sldLayoutIdLst>
  <p:transition>
    <p:wipe dir="d"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5pPr>
      <a:lvl6pPr marL="45714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6pPr>
      <a:lvl7pPr marL="91429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7pPr>
      <a:lvl8pPr marL="137143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8pPr>
      <a:lvl9pPr marL="182858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9pPr>
    </p:titleStyle>
    <p:bodyStyle>
      <a:lvl1pPr marL="192065" indent="-192065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66670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2pPr>
      <a:lvl3pPr marL="1147625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712708" indent="-185716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4pPr>
      <a:lvl5pPr marL="219366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5pPr>
      <a:lvl6pPr marL="265080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3107952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356509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4022243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9985" y="39"/>
            <a:ext cx="8804031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4" rIns="91430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80" y="1128713"/>
            <a:ext cx="8805497" cy="497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Nokia PowerPoint 2008 Template, A4 </a:t>
            </a:r>
            <a:br>
              <a:rPr lang="en-US" smtClean="0"/>
            </a:br>
            <a:r>
              <a:rPr lang="en-US" smtClean="0"/>
              <a:t>Title font: Nokia Large bold 32 pt</a:t>
            </a:r>
            <a:br>
              <a:rPr lang="en-US" smtClean="0"/>
            </a:br>
            <a:r>
              <a:rPr lang="en-US" smtClean="0"/>
              <a:t>Copy font: Nokia Sans Wide 20 pt (regular, bold or italic)</a:t>
            </a:r>
          </a:p>
          <a:p>
            <a:pPr lvl="0"/>
            <a:r>
              <a:rPr lang="en-US" smtClean="0"/>
              <a:t>1st Level Bullet</a:t>
            </a:r>
          </a:p>
          <a:p>
            <a:pPr lvl="1"/>
            <a:r>
              <a:rPr lang="en-US" smtClean="0"/>
              <a:t>2nd Level Bullet (size: 18 pt)</a:t>
            </a:r>
          </a:p>
          <a:p>
            <a:pPr lvl="2"/>
            <a:r>
              <a:rPr lang="en-US" smtClean="0"/>
              <a:t>3rd Level Bullet (size: 16 pt)</a:t>
            </a:r>
          </a:p>
          <a:p>
            <a:pPr lvl="3"/>
            <a:r>
              <a:rPr lang="en-US" smtClean="0"/>
              <a:t>4th Level Bullet (size: 14 pt)</a:t>
            </a:r>
          </a:p>
          <a:p>
            <a:pPr lvl="0"/>
            <a:r>
              <a:rPr lang="en-US" smtClean="0"/>
              <a:t>Footer (font: Nokia Sans Wide, 8 pt):</a:t>
            </a:r>
            <a:br>
              <a:rPr lang="en-US" smtClean="0"/>
            </a:br>
            <a:r>
              <a:rPr lang="en-US" smtClean="0"/>
              <a:t>“©2008 Nokia   V1 Filename .ppt / yyyy-mm-dd / Initials” is set via “Insert” menu / “Slide number”– NOT via SLIDE MASTER</a:t>
            </a:r>
          </a:p>
          <a:p>
            <a:pPr lvl="0"/>
            <a:r>
              <a:rPr lang="en-US" smtClean="0"/>
              <a:t>Nokia PowerPoint presentations should always be marked with the appropriate level of confidentiality: Company Confidential (default), Confidential or Secret. More info from Corporate Security web.</a:t>
            </a:r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5559" y="6524625"/>
            <a:ext cx="3909646" cy="1920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0000"/>
              </a:lnSpc>
              <a:defRPr sz="800" noProof="1"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  <a:latin typeface="Nokia Sans Wide" pitchFamily="34" charset="0"/>
              </a:rPr>
              <a:t>© 2008  Nokia 	 V1-Filename.ppt / YYYY-MM-DD / Initials</a:t>
            </a:r>
          </a:p>
        </p:txBody>
      </p:sp>
      <p:sp>
        <p:nvSpPr>
          <p:cNvPr id="109573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2054" name="Group 11"/>
          <p:cNvGrpSpPr>
            <a:grpSpLocks/>
          </p:cNvGrpSpPr>
          <p:nvPr/>
        </p:nvGrpSpPr>
        <p:grpSpPr bwMode="auto">
          <a:xfrm>
            <a:off x="7529156" y="6300903"/>
            <a:ext cx="1355481" cy="366713"/>
            <a:chOff x="5138" y="3969"/>
            <a:chExt cx="925" cy="231"/>
          </a:xfrm>
        </p:grpSpPr>
        <p:pic>
          <p:nvPicPr>
            <p:cNvPr id="2056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" y="4025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577" name="Rectangle 9"/>
            <p:cNvSpPr>
              <a:spLocks noChangeArrowheads="1"/>
            </p:cNvSpPr>
            <p:nvPr userDrawn="1"/>
          </p:nvSpPr>
          <p:spPr bwMode="auto">
            <a:xfrm>
              <a:off x="5138" y="3969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4123" y="6518275"/>
            <a:ext cx="344366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spcAft>
                <a:spcPct val="0"/>
              </a:spcAft>
              <a:buClrTx/>
              <a:defRPr sz="800"/>
            </a:lvl1pPr>
          </a:lstStyle>
          <a:p>
            <a:pPr>
              <a:defRPr/>
            </a:pPr>
            <a:fld id="{4647AA11-A057-4090-A2E7-774E3836CBB1}" type="slidenum">
              <a:rPr lang="en-US">
                <a:solidFill>
                  <a:srgbClr val="000000"/>
                </a:solidFill>
                <a:latin typeface="Nokia Sans Wide" pitchFamily="34" charset="0"/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71369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</p:sldLayoutIdLst>
  <p:transition>
    <p:wipe dir="d"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5pPr>
      <a:lvl6pPr marL="45714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6pPr>
      <a:lvl7pPr marL="91429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7pPr>
      <a:lvl8pPr marL="137143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8pPr>
      <a:lvl9pPr marL="182858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9pPr>
    </p:titleStyle>
    <p:bodyStyle>
      <a:lvl1pPr marL="192065" indent="-192065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66670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2pPr>
      <a:lvl3pPr marL="1147625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712708" indent="-185716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4pPr>
      <a:lvl5pPr marL="219366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5pPr>
      <a:lvl6pPr marL="265080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3107952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356509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4022243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9985" y="25"/>
            <a:ext cx="8804031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4" rIns="91430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80" y="1128713"/>
            <a:ext cx="8805497" cy="497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Nokia PowerPoint 2008 Template, A4 </a:t>
            </a:r>
            <a:br>
              <a:rPr lang="en-US" smtClean="0"/>
            </a:br>
            <a:r>
              <a:rPr lang="en-US" smtClean="0"/>
              <a:t>Title font: Nokia Large bold 32 pt</a:t>
            </a:r>
            <a:br>
              <a:rPr lang="en-US" smtClean="0"/>
            </a:br>
            <a:r>
              <a:rPr lang="en-US" smtClean="0"/>
              <a:t>Copy font: Nokia Sans Wide 20 pt (regular, bold or italic)</a:t>
            </a:r>
          </a:p>
          <a:p>
            <a:pPr lvl="0"/>
            <a:r>
              <a:rPr lang="en-US" smtClean="0"/>
              <a:t>1st Level Bullet</a:t>
            </a:r>
          </a:p>
          <a:p>
            <a:pPr lvl="1"/>
            <a:r>
              <a:rPr lang="en-US" smtClean="0"/>
              <a:t>2nd Level Bullet (size: 18 pt)</a:t>
            </a:r>
          </a:p>
          <a:p>
            <a:pPr lvl="2"/>
            <a:r>
              <a:rPr lang="en-US" smtClean="0"/>
              <a:t>3rd Level Bullet (size: 16 pt)</a:t>
            </a:r>
          </a:p>
          <a:p>
            <a:pPr lvl="3"/>
            <a:r>
              <a:rPr lang="en-US" smtClean="0"/>
              <a:t>4th Level Bullet (size: 14 pt)</a:t>
            </a:r>
          </a:p>
          <a:p>
            <a:pPr lvl="0"/>
            <a:r>
              <a:rPr lang="en-US" smtClean="0"/>
              <a:t>Footer (font: Nokia Sans Wide, 8 pt):</a:t>
            </a:r>
            <a:br>
              <a:rPr lang="en-US" smtClean="0"/>
            </a:br>
            <a:r>
              <a:rPr lang="en-US" smtClean="0"/>
              <a:t>“©2008 Nokia   V1 Filename .ppt / yyyy-mm-dd / Initials” is set via “Insert” menu / “Slide number”– NOT via SLIDE MASTER</a:t>
            </a:r>
          </a:p>
          <a:p>
            <a:pPr lvl="0"/>
            <a:r>
              <a:rPr lang="en-US" smtClean="0"/>
              <a:t>Nokia PowerPoint presentations should always be marked with the appropriate level of confidentiality: Company Confidential (default), Confidential or Secret. More info from Corporate Security web.</a:t>
            </a:r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5559" y="6524625"/>
            <a:ext cx="3909646" cy="1920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0000"/>
              </a:lnSpc>
              <a:defRPr sz="800" noProof="1"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  <a:latin typeface="Nokia Sans Wide" pitchFamily="34" charset="0"/>
              </a:rPr>
              <a:t>© 2008  Nokia 	 V1-Filename.ppt / YYYY-MM-DD / Initials</a:t>
            </a:r>
          </a:p>
        </p:txBody>
      </p:sp>
      <p:sp>
        <p:nvSpPr>
          <p:cNvPr id="109573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2054" name="Group 11"/>
          <p:cNvGrpSpPr>
            <a:grpSpLocks/>
          </p:cNvGrpSpPr>
          <p:nvPr/>
        </p:nvGrpSpPr>
        <p:grpSpPr bwMode="auto">
          <a:xfrm>
            <a:off x="7529156" y="6300875"/>
            <a:ext cx="1355481" cy="366713"/>
            <a:chOff x="5138" y="3969"/>
            <a:chExt cx="925" cy="231"/>
          </a:xfrm>
        </p:grpSpPr>
        <p:pic>
          <p:nvPicPr>
            <p:cNvPr id="2056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" y="4025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577" name="Rectangle 9"/>
            <p:cNvSpPr>
              <a:spLocks noChangeArrowheads="1"/>
            </p:cNvSpPr>
            <p:nvPr userDrawn="1"/>
          </p:nvSpPr>
          <p:spPr bwMode="auto">
            <a:xfrm>
              <a:off x="5138" y="3969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4123" y="6518275"/>
            <a:ext cx="344366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spcAft>
                <a:spcPct val="0"/>
              </a:spcAft>
              <a:buClrTx/>
              <a:defRPr sz="800"/>
            </a:lvl1pPr>
          </a:lstStyle>
          <a:p>
            <a:pPr>
              <a:defRPr/>
            </a:pPr>
            <a:fld id="{4647AA11-A057-4090-A2E7-774E3836CBB1}" type="slidenum">
              <a:rPr lang="en-US">
                <a:solidFill>
                  <a:srgbClr val="000000"/>
                </a:solidFill>
                <a:latin typeface="Nokia Sans Wide" pitchFamily="34" charset="0"/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81491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8" r:id="rId1"/>
    <p:sldLayoutId id="2147483899" r:id="rId2"/>
    <p:sldLayoutId id="2147483900" r:id="rId3"/>
    <p:sldLayoutId id="2147483901" r:id="rId4"/>
    <p:sldLayoutId id="2147483902" r:id="rId5"/>
    <p:sldLayoutId id="2147483903" r:id="rId6"/>
    <p:sldLayoutId id="2147483904" r:id="rId7"/>
    <p:sldLayoutId id="2147483905" r:id="rId8"/>
    <p:sldLayoutId id="2147483906" r:id="rId9"/>
    <p:sldLayoutId id="2147483907" r:id="rId10"/>
    <p:sldLayoutId id="2147483908" r:id="rId11"/>
  </p:sldLayoutIdLst>
  <p:transition>
    <p:wipe dir="d"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5pPr>
      <a:lvl6pPr marL="45714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6pPr>
      <a:lvl7pPr marL="91429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7pPr>
      <a:lvl8pPr marL="137143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8pPr>
      <a:lvl9pPr marL="182858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9pPr>
    </p:titleStyle>
    <p:bodyStyle>
      <a:lvl1pPr marL="192065" indent="-192065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66670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2pPr>
      <a:lvl3pPr marL="1147625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712708" indent="-185716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4pPr>
      <a:lvl5pPr marL="219366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5pPr>
      <a:lvl6pPr marL="265080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3107952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356509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4022243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1. 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69985" y="25"/>
            <a:ext cx="8804031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4" rIns="91430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949593" y="2287590"/>
            <a:ext cx="7243397" cy="3447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Nokia PowerPoint 2008 Template, A4 </a:t>
            </a:r>
            <a:br>
              <a:rPr lang="en-US" smtClean="0"/>
            </a:br>
            <a:r>
              <a:rPr lang="en-US" smtClean="0"/>
              <a:t>Title font: Nokia Large bold 32 pt</a:t>
            </a:r>
            <a:br>
              <a:rPr lang="en-US" smtClean="0"/>
            </a:br>
            <a:r>
              <a:rPr lang="en-US" smtClean="0"/>
              <a:t>Copy font: Nokia Sans Wide 20 pt (regular, bold or italic)</a:t>
            </a:r>
          </a:p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2nd Level Bullet (size: 16 pt)</a:t>
            </a:r>
          </a:p>
          <a:p>
            <a:pPr lvl="2"/>
            <a:r>
              <a:rPr lang="en-US" smtClean="0"/>
              <a:t>3rd Level Bullet (size: 16 pt)</a:t>
            </a:r>
          </a:p>
          <a:p>
            <a:pPr lvl="3"/>
            <a:r>
              <a:rPr lang="en-US" smtClean="0"/>
              <a:t>4th Level Bullet (size: 16 pt)</a:t>
            </a:r>
          </a:p>
          <a:p>
            <a:pPr lvl="4"/>
            <a:r>
              <a:rPr lang="en-US" smtClean="0"/>
              <a:t>5th Level Bullet (size: 16 pt)</a:t>
            </a:r>
          </a:p>
          <a:p>
            <a:pPr lvl="0"/>
            <a:r>
              <a:rPr lang="en-US" smtClean="0"/>
              <a:t>Footer (font: Nokia Sans Wide, 8 pt):</a:t>
            </a:r>
            <a:br>
              <a:rPr lang="en-US" smtClean="0"/>
            </a:br>
            <a:r>
              <a:rPr lang="en-US" smtClean="0"/>
              <a:t>“©2008 Nokia   V1 Filename .ppt / yyyy-mm-dd / Initials” is set via “Insert” menu / “Slide number”– NOT via SLIDE MASTER</a:t>
            </a:r>
          </a:p>
          <a:p>
            <a:pPr lvl="0"/>
            <a:r>
              <a:rPr lang="en-US" smtClean="0"/>
              <a:t>Nokia PowerPoint presentations should always be marked with the appropriate level of confidentiality: Company Confidential (default), Confidential or Secret. More info from Corporate Security web.</a:t>
            </a:r>
          </a:p>
        </p:txBody>
      </p:sp>
      <p:grpSp>
        <p:nvGrpSpPr>
          <p:cNvPr id="1028" name="Group 11"/>
          <p:cNvGrpSpPr>
            <a:grpSpLocks/>
          </p:cNvGrpSpPr>
          <p:nvPr/>
        </p:nvGrpSpPr>
        <p:grpSpPr bwMode="auto">
          <a:xfrm>
            <a:off x="7529148" y="6300832"/>
            <a:ext cx="1355481" cy="366711"/>
            <a:chOff x="5138" y="3969"/>
            <a:chExt cx="925" cy="231"/>
          </a:xfrm>
        </p:grpSpPr>
        <p:pic>
          <p:nvPicPr>
            <p:cNvPr id="1079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314" y="4025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80" name="Rectangle 9"/>
            <p:cNvSpPr>
              <a:spLocks noChangeArrowheads="1"/>
            </p:cNvSpPr>
            <p:nvPr userDrawn="1"/>
          </p:nvSpPr>
          <p:spPr bwMode="gray">
            <a:xfrm>
              <a:off x="5138" y="3969"/>
              <a:ext cx="125" cy="2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317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</a:pPr>
              <a:endParaRPr lang="en-US" b="1">
                <a:solidFill>
                  <a:srgbClr val="000000"/>
                </a:solidFill>
                <a:latin typeface="Nokia Sans Wide"/>
                <a:cs typeface="Arial" charset="0"/>
              </a:endParaRPr>
            </a:p>
          </p:txBody>
        </p:sp>
      </p:grpSp>
      <p:sp>
        <p:nvSpPr>
          <p:cNvPr id="8268" name="McK 2. Unit of measure" hidden="1"/>
          <p:cNvSpPr txBox="1">
            <a:spLocks noChangeArrowheads="1"/>
          </p:cNvSpPr>
          <p:nvPr/>
        </p:nvSpPr>
        <p:spPr bwMode="gray">
          <a:xfrm>
            <a:off x="170005" y="1155701"/>
            <a:ext cx="337478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 defTabSz="895350" eaLnBrk="0" hangingPunct="0">
              <a:defRPr b="1">
                <a:solidFill>
                  <a:schemeClr val="tx1"/>
                </a:solidFill>
                <a:latin typeface="Nokia Sans Wide" pitchFamily="34" charset="0"/>
              </a:defRPr>
            </a:lvl1pPr>
            <a:lvl2pPr marL="447675" algn="l" defTabSz="895350" eaLnBrk="0" hangingPunct="0">
              <a:defRPr b="1">
                <a:solidFill>
                  <a:schemeClr val="tx1"/>
                </a:solidFill>
                <a:latin typeface="Nokia Sans Wide" pitchFamily="34" charset="0"/>
              </a:defRPr>
            </a:lvl2pPr>
            <a:lvl3pPr marL="895350" algn="l" defTabSz="895350" eaLnBrk="0" hangingPunct="0">
              <a:defRPr b="1">
                <a:solidFill>
                  <a:schemeClr val="tx1"/>
                </a:solidFill>
                <a:latin typeface="Nokia Sans Wide" pitchFamily="34" charset="0"/>
              </a:defRPr>
            </a:lvl3pPr>
            <a:lvl4pPr marL="1344613" algn="l" defTabSz="895350" eaLnBrk="0" hangingPunct="0">
              <a:defRPr b="1">
                <a:solidFill>
                  <a:schemeClr val="tx1"/>
                </a:solidFill>
                <a:latin typeface="Nokia Sans Wide" pitchFamily="34" charset="0"/>
              </a:defRPr>
            </a:lvl4pPr>
            <a:lvl5pPr marL="1792288" algn="l" defTabSz="895350" eaLnBrk="0" hangingPunct="0">
              <a:defRPr b="1">
                <a:solidFill>
                  <a:schemeClr val="tx1"/>
                </a:solidFill>
                <a:latin typeface="Nokia Sans Wide" pitchFamily="34" charset="0"/>
              </a:defRPr>
            </a:lvl5pPr>
            <a:lvl6pPr marL="2249488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Nokia Sans Wide" pitchFamily="34" charset="0"/>
              </a:defRPr>
            </a:lvl6pPr>
            <a:lvl7pPr marL="2706688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Nokia Sans Wide" pitchFamily="34" charset="0"/>
              </a:defRPr>
            </a:lvl7pPr>
            <a:lvl8pPr marL="3163888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Nokia Sans Wide" pitchFamily="34" charset="0"/>
              </a:defRPr>
            </a:lvl8pPr>
            <a:lvl9pPr marL="3621088" defTabSz="89535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Nokia Sans Wide" pitchFamily="34" charset="0"/>
              </a:defRPr>
            </a:lvl9pPr>
          </a:lstStyle>
          <a:p>
            <a:pPr eaLnBrk="1" hangingPunct="1">
              <a:defRPr/>
            </a:pPr>
            <a:r>
              <a:rPr lang="en-US" sz="1400" b="0" smtClean="0">
                <a:solidFill>
                  <a:srgbClr val="808080"/>
                </a:solidFill>
                <a:cs typeface="Arial" pitchFamily="34" charset="0"/>
              </a:rPr>
              <a:t>Unit of measure</a:t>
            </a:r>
          </a:p>
        </p:txBody>
      </p:sp>
      <p:grpSp>
        <p:nvGrpSpPr>
          <p:cNvPr id="1030" name="McK Slide Elements"/>
          <p:cNvGrpSpPr>
            <a:grpSpLocks/>
          </p:cNvGrpSpPr>
          <p:nvPr/>
        </p:nvGrpSpPr>
        <p:grpSpPr bwMode="auto">
          <a:xfrm>
            <a:off x="169986" y="6126158"/>
            <a:ext cx="7457343" cy="352426"/>
            <a:chOff x="116" y="3859"/>
            <a:chExt cx="5089" cy="222"/>
          </a:xfrm>
        </p:grpSpPr>
        <p:sp>
          <p:nvSpPr>
            <p:cNvPr id="8270" name="McK 3. Footnote" hidden="1"/>
            <p:cNvSpPr txBox="1">
              <a:spLocks noChangeArrowheads="1"/>
            </p:cNvSpPr>
            <p:nvPr userDrawn="1"/>
          </p:nvSpPr>
          <p:spPr bwMode="gray">
            <a:xfrm>
              <a:off x="116" y="3859"/>
              <a:ext cx="50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algn="l" defTabSz="895350" eaLnBrk="0" hangingPunct="0">
                <a:defRPr b="1">
                  <a:solidFill>
                    <a:schemeClr val="tx1"/>
                  </a:solidFill>
                  <a:latin typeface="Nokia Sans Wide" pitchFamily="34" charset="0"/>
                </a:defRPr>
              </a:lvl1pPr>
              <a:lvl2pPr marL="1031875" algn="l" defTabSz="895350" eaLnBrk="0" hangingPunct="0">
                <a:defRPr b="1">
                  <a:solidFill>
                    <a:schemeClr val="tx1"/>
                  </a:solidFill>
                  <a:latin typeface="Nokia Sans Wide" pitchFamily="34" charset="0"/>
                </a:defRPr>
              </a:lvl2pPr>
              <a:lvl3pPr marL="1217613" algn="l" defTabSz="895350" eaLnBrk="0" hangingPunct="0">
                <a:defRPr b="1">
                  <a:solidFill>
                    <a:schemeClr val="tx1"/>
                  </a:solidFill>
                  <a:latin typeface="Nokia Sans Wide" pitchFamily="34" charset="0"/>
                </a:defRPr>
              </a:lvl3pPr>
              <a:lvl4pPr marL="1404938" algn="l" defTabSz="895350" eaLnBrk="0" hangingPunct="0">
                <a:defRPr b="1">
                  <a:solidFill>
                    <a:schemeClr val="tx1"/>
                  </a:solidFill>
                  <a:latin typeface="Nokia Sans Wide" pitchFamily="34" charset="0"/>
                </a:defRPr>
              </a:lvl4pPr>
              <a:lvl5pPr marL="1792288" algn="l" defTabSz="895350" eaLnBrk="0" hangingPunct="0">
                <a:defRPr b="1">
                  <a:solidFill>
                    <a:schemeClr val="tx1"/>
                  </a:solidFill>
                  <a:latin typeface="Nokia Sans Wide" pitchFamily="34" charset="0"/>
                </a:defRPr>
              </a:lvl5pPr>
              <a:lvl6pPr marL="22494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Nokia Sans Wide" pitchFamily="34" charset="0"/>
                </a:defRPr>
              </a:lvl6pPr>
              <a:lvl7pPr marL="27066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Nokia Sans Wide" pitchFamily="34" charset="0"/>
                </a:defRPr>
              </a:lvl7pPr>
              <a:lvl8pPr marL="31638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Nokia Sans Wide" pitchFamily="34" charset="0"/>
                </a:defRPr>
              </a:lvl8pPr>
              <a:lvl9pPr marL="3621088" defTabSz="89535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Nokia Sans Wide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sz="1000" b="0" smtClean="0">
                  <a:solidFill>
                    <a:srgbClr val="000000"/>
                  </a:solidFill>
                  <a:cs typeface="Arial" pitchFamily="34" charset="0"/>
                </a:rPr>
                <a:t>1 Footnote</a:t>
              </a:r>
            </a:p>
          </p:txBody>
        </p:sp>
        <p:sp>
          <p:nvSpPr>
            <p:cNvPr id="1078" name="McK 4. Source" hidden="1"/>
            <p:cNvSpPr>
              <a:spLocks noChangeArrowheads="1"/>
            </p:cNvSpPr>
            <p:nvPr userDrawn="1"/>
          </p:nvSpPr>
          <p:spPr bwMode="gray">
            <a:xfrm>
              <a:off x="116" y="3984"/>
              <a:ext cx="50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526" indent="-609526" defTabSz="895243">
                <a:tabLst>
                  <a:tab pos="612702" algn="l"/>
                </a:tabLst>
              </a:pPr>
              <a:r>
                <a:rPr lang="en-US" sz="1000">
                  <a:solidFill>
                    <a:srgbClr val="000000"/>
                  </a:solidFill>
                  <a:latin typeface="Nokia Sans Wide"/>
                  <a:cs typeface="Arial" charset="0"/>
                </a:rPr>
                <a:t>SOURCE: Source</a:t>
              </a:r>
            </a:p>
          </p:txBody>
        </p:sp>
      </p:grpSp>
      <p:grpSp>
        <p:nvGrpSpPr>
          <p:cNvPr id="1031" name="ACET" hidden="1"/>
          <p:cNvGrpSpPr>
            <a:grpSpLocks/>
          </p:cNvGrpSpPr>
          <p:nvPr/>
        </p:nvGrpSpPr>
        <p:grpSpPr bwMode="auto">
          <a:xfrm>
            <a:off x="949596" y="1689103"/>
            <a:ext cx="3936023" cy="511174"/>
            <a:chOff x="915" y="708"/>
            <a:chExt cx="2686" cy="322"/>
          </a:xfrm>
        </p:grpSpPr>
        <p:cxnSp>
          <p:nvCxnSpPr>
            <p:cNvPr id="1075" name="AutoShape 81" hidden="1"/>
            <p:cNvCxnSpPr>
              <a:cxnSpLocks noChangeShapeType="1"/>
              <a:stCxn id="1076" idx="4"/>
              <a:endCxn id="1076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76" name="AutoShape 82" hidden="1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>
                  <a:solidFill>
                    <a:srgbClr val="000000"/>
                  </a:solidFill>
                  <a:latin typeface="Nokia Sans Wide"/>
                  <a:cs typeface="Arial" charset="0"/>
                </a:rPr>
                <a:t>Title</a:t>
              </a:r>
            </a:p>
            <a:p>
              <a:r>
                <a:rPr lang="en-US" sz="1600">
                  <a:solidFill>
                    <a:srgbClr val="808080"/>
                  </a:solidFill>
                  <a:latin typeface="Nokia Sans Wide"/>
                  <a:cs typeface="Arial" charset="0"/>
                </a:rPr>
                <a:t>Unit of measure</a:t>
              </a:r>
            </a:p>
          </p:txBody>
        </p:sp>
      </p:grpSp>
      <p:grpSp>
        <p:nvGrpSpPr>
          <p:cNvPr id="1032" name="LegendBoxes" hidden="1"/>
          <p:cNvGrpSpPr>
            <a:grpSpLocks/>
          </p:cNvGrpSpPr>
          <p:nvPr/>
        </p:nvGrpSpPr>
        <p:grpSpPr bwMode="auto">
          <a:xfrm>
            <a:off x="8195850" y="1154119"/>
            <a:ext cx="842594" cy="977900"/>
            <a:chOff x="3394" y="518"/>
            <a:chExt cx="575" cy="616"/>
          </a:xfrm>
        </p:grpSpPr>
        <p:sp>
          <p:nvSpPr>
            <p:cNvPr id="1067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GB" sz="1200" b="1">
                <a:solidFill>
                  <a:srgbClr val="000000"/>
                </a:solidFill>
                <a:latin typeface="Nokia Sans Wide"/>
                <a:cs typeface="Arial" charset="0"/>
              </a:endParaRPr>
            </a:p>
          </p:txBody>
        </p:sp>
        <p:sp>
          <p:nvSpPr>
            <p:cNvPr id="1068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GB" sz="1200" b="1">
                <a:solidFill>
                  <a:srgbClr val="000000"/>
                </a:solidFill>
                <a:latin typeface="Nokia Sans Wide"/>
                <a:cs typeface="Arial" charset="0"/>
              </a:endParaRPr>
            </a:p>
          </p:txBody>
        </p:sp>
        <p:sp>
          <p:nvSpPr>
            <p:cNvPr id="1069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GB" sz="1200" b="1">
                <a:solidFill>
                  <a:srgbClr val="000000"/>
                </a:solidFill>
                <a:latin typeface="Nokia Sans Wide"/>
                <a:cs typeface="Arial" charset="0"/>
              </a:endParaRPr>
            </a:p>
          </p:txBody>
        </p:sp>
        <p:sp>
          <p:nvSpPr>
            <p:cNvPr id="1070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GB" sz="1200" b="1">
                <a:solidFill>
                  <a:srgbClr val="000000"/>
                </a:solidFill>
                <a:latin typeface="Nokia Sans Wide"/>
                <a:cs typeface="Arial" charset="0"/>
              </a:endParaRPr>
            </a:p>
          </p:txBody>
        </p:sp>
        <p:sp>
          <p:nvSpPr>
            <p:cNvPr id="1071" name="Legend1" hidden="1"/>
            <p:cNvSpPr>
              <a:spLocks noChangeArrowheads="1"/>
            </p:cNvSpPr>
            <p:nvPr userDrawn="1"/>
          </p:nvSpPr>
          <p:spPr bwMode="gray">
            <a:xfrm>
              <a:off x="3554" y="518"/>
              <a:ext cx="41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latin typeface="Nokia Sans Wide"/>
                  <a:cs typeface="Arial" charset="0"/>
                </a:rPr>
                <a:t>Legend1</a:t>
              </a:r>
            </a:p>
          </p:txBody>
        </p:sp>
        <p:sp>
          <p:nvSpPr>
            <p:cNvPr id="1072" name="Legend2" hidden="1"/>
            <p:cNvSpPr>
              <a:spLocks noChangeArrowheads="1"/>
            </p:cNvSpPr>
            <p:nvPr userDrawn="1"/>
          </p:nvSpPr>
          <p:spPr bwMode="gray">
            <a:xfrm>
              <a:off x="3554" y="683"/>
              <a:ext cx="41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latin typeface="Nokia Sans Wide"/>
                  <a:cs typeface="Arial" charset="0"/>
                </a:rPr>
                <a:t>Legend2</a:t>
              </a:r>
            </a:p>
          </p:txBody>
        </p:sp>
        <p:sp>
          <p:nvSpPr>
            <p:cNvPr id="1073" name="Legend3" hidden="1"/>
            <p:cNvSpPr>
              <a:spLocks noChangeArrowheads="1"/>
            </p:cNvSpPr>
            <p:nvPr userDrawn="1"/>
          </p:nvSpPr>
          <p:spPr bwMode="gray">
            <a:xfrm>
              <a:off x="3554" y="848"/>
              <a:ext cx="41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latin typeface="Nokia Sans Wide"/>
                  <a:cs typeface="Arial" charset="0"/>
                </a:rPr>
                <a:t>Legend3</a:t>
              </a:r>
            </a:p>
          </p:txBody>
        </p:sp>
        <p:sp>
          <p:nvSpPr>
            <p:cNvPr id="1074" name="Legend4" hidden="1"/>
            <p:cNvSpPr>
              <a:spLocks noChangeArrowheads="1"/>
            </p:cNvSpPr>
            <p:nvPr userDrawn="1"/>
          </p:nvSpPr>
          <p:spPr bwMode="gray">
            <a:xfrm>
              <a:off x="3554" y="1018"/>
              <a:ext cx="41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latin typeface="Nokia Sans Wide"/>
                  <a:cs typeface="Arial" charset="0"/>
                </a:rPr>
                <a:t>Legend4</a:t>
              </a:r>
            </a:p>
          </p:txBody>
        </p:sp>
      </p:grpSp>
      <p:grpSp>
        <p:nvGrpSpPr>
          <p:cNvPr id="1033" name="LegendLines" hidden="1"/>
          <p:cNvGrpSpPr>
            <a:grpSpLocks/>
          </p:cNvGrpSpPr>
          <p:nvPr/>
        </p:nvGrpSpPr>
        <p:grpSpPr bwMode="auto">
          <a:xfrm>
            <a:off x="7902823" y="1154160"/>
            <a:ext cx="1135670" cy="708025"/>
            <a:chOff x="2411" y="2749"/>
            <a:chExt cx="775" cy="446"/>
          </a:xfrm>
        </p:grpSpPr>
        <p:sp>
          <p:nvSpPr>
            <p:cNvPr id="1061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en-US" sz="1200" b="1">
                <a:solidFill>
                  <a:srgbClr val="000000"/>
                </a:solidFill>
                <a:latin typeface="Nokia Sans Wide"/>
                <a:cs typeface="Arial" charset="0"/>
              </a:endParaRPr>
            </a:p>
          </p:txBody>
        </p:sp>
        <p:sp>
          <p:nvSpPr>
            <p:cNvPr id="1062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en-US" sz="1200" b="1">
                <a:solidFill>
                  <a:srgbClr val="000000"/>
                </a:solidFill>
                <a:latin typeface="Nokia Sans Wide"/>
                <a:cs typeface="Arial" charset="0"/>
              </a:endParaRPr>
            </a:p>
          </p:txBody>
        </p:sp>
        <p:sp>
          <p:nvSpPr>
            <p:cNvPr id="1063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algn="ctr"/>
              <a:endParaRPr lang="en-US" sz="1200" b="1">
                <a:solidFill>
                  <a:srgbClr val="000000"/>
                </a:solidFill>
                <a:latin typeface="Nokia Sans Wide"/>
                <a:cs typeface="Arial" charset="0"/>
              </a:endParaRPr>
            </a:p>
          </p:txBody>
        </p:sp>
        <p:sp>
          <p:nvSpPr>
            <p:cNvPr id="1064" name="Legend1" hidden="1"/>
            <p:cNvSpPr>
              <a:spLocks noChangeArrowheads="1"/>
            </p:cNvSpPr>
            <p:nvPr userDrawn="1"/>
          </p:nvSpPr>
          <p:spPr bwMode="gray">
            <a:xfrm>
              <a:off x="2771" y="2749"/>
              <a:ext cx="41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latin typeface="Nokia Sans Wide"/>
                  <a:cs typeface="Arial" charset="0"/>
                </a:rPr>
                <a:t>Legend1</a:t>
              </a:r>
            </a:p>
          </p:txBody>
        </p:sp>
        <p:sp>
          <p:nvSpPr>
            <p:cNvPr id="1065" name="Legend2" hidden="1"/>
            <p:cNvSpPr>
              <a:spLocks noChangeArrowheads="1"/>
            </p:cNvSpPr>
            <p:nvPr userDrawn="1"/>
          </p:nvSpPr>
          <p:spPr bwMode="gray">
            <a:xfrm>
              <a:off x="2771" y="2914"/>
              <a:ext cx="41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latin typeface="Nokia Sans Wide"/>
                  <a:cs typeface="Arial" charset="0"/>
                </a:rPr>
                <a:t>Legend2</a:t>
              </a:r>
            </a:p>
          </p:txBody>
        </p:sp>
        <p:sp>
          <p:nvSpPr>
            <p:cNvPr id="1066" name="Legend3" hidden="1"/>
            <p:cNvSpPr>
              <a:spLocks noChangeArrowheads="1"/>
            </p:cNvSpPr>
            <p:nvPr userDrawn="1"/>
          </p:nvSpPr>
          <p:spPr bwMode="gray">
            <a:xfrm>
              <a:off x="2771" y="3079"/>
              <a:ext cx="41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latin typeface="Nokia Sans Wide"/>
                  <a:cs typeface="Arial" charset="0"/>
                </a:rPr>
                <a:t>Legend3</a:t>
              </a:r>
            </a:p>
          </p:txBody>
        </p:sp>
      </p:grpSp>
      <p:grpSp>
        <p:nvGrpSpPr>
          <p:cNvPr id="1034" name="LegendMoons" hidden="1"/>
          <p:cNvGrpSpPr>
            <a:grpSpLocks/>
          </p:cNvGrpSpPr>
          <p:nvPr/>
        </p:nvGrpSpPr>
        <p:grpSpPr bwMode="auto">
          <a:xfrm>
            <a:off x="8122628" y="1155708"/>
            <a:ext cx="915865" cy="1306513"/>
            <a:chOff x="1104" y="2704"/>
            <a:chExt cx="625" cy="823"/>
          </a:xfrm>
        </p:grpSpPr>
        <p:grpSp>
          <p:nvGrpSpPr>
            <p:cNvPr id="1041" name="MoonLegend1" hidden="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1104" y="2704"/>
              <a:ext cx="132" cy="132"/>
              <a:chOff x="4533" y="183"/>
              <a:chExt cx="144" cy="144"/>
            </a:xfrm>
          </p:grpSpPr>
          <p:sp>
            <p:nvSpPr>
              <p:cNvPr id="1059" name="Oval 102" hidden="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GB" sz="1200" b="1">
                  <a:solidFill>
                    <a:srgbClr val="000000"/>
                  </a:solidFill>
                  <a:latin typeface="Nokia Sans Wide"/>
                  <a:cs typeface="Arial" charset="0"/>
                </a:endParaRPr>
              </a:p>
            </p:txBody>
          </p:sp>
          <p:sp>
            <p:nvSpPr>
              <p:cNvPr id="1060" name="Arc 103" hidden="1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US" sz="1200" b="1">
                  <a:solidFill>
                    <a:srgbClr val="000000"/>
                  </a:solidFill>
                  <a:latin typeface="Nokia Sans Wide"/>
                  <a:cs typeface="Arial" charset="0"/>
                </a:endParaRPr>
              </a:p>
            </p:txBody>
          </p:sp>
        </p:grpSp>
        <p:grpSp>
          <p:nvGrpSpPr>
            <p:cNvPr id="1042" name="MoonLegend2" hidden="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1104" y="2876"/>
              <a:ext cx="132" cy="132"/>
              <a:chOff x="1694" y="2044"/>
              <a:chExt cx="160" cy="160"/>
            </a:xfrm>
          </p:grpSpPr>
          <p:sp>
            <p:nvSpPr>
              <p:cNvPr id="1057" name="Oval 105" hidden="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GB" sz="1200" b="1">
                  <a:solidFill>
                    <a:srgbClr val="000000"/>
                  </a:solidFill>
                  <a:latin typeface="Nokia Sans Wide"/>
                  <a:cs typeface="Arial" charset="0"/>
                </a:endParaRPr>
              </a:p>
            </p:txBody>
          </p:sp>
          <p:sp>
            <p:nvSpPr>
              <p:cNvPr id="1058" name="Arc 106" hidden="1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US" sz="1200" b="1">
                  <a:solidFill>
                    <a:srgbClr val="000000"/>
                  </a:solidFill>
                  <a:latin typeface="Nokia Sans Wide"/>
                  <a:cs typeface="Arial" charset="0"/>
                </a:endParaRPr>
              </a:p>
            </p:txBody>
          </p:sp>
        </p:grpSp>
        <p:grpSp>
          <p:nvGrpSpPr>
            <p:cNvPr id="1043" name="MoonLegend3" hidden="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1104" y="3049"/>
              <a:ext cx="132" cy="132"/>
              <a:chOff x="4495" y="897"/>
              <a:chExt cx="160" cy="160"/>
            </a:xfrm>
          </p:grpSpPr>
          <p:sp>
            <p:nvSpPr>
              <p:cNvPr id="1055" name="Oval 108" hidden="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GB" sz="1200" b="1">
                  <a:solidFill>
                    <a:srgbClr val="000000"/>
                  </a:solidFill>
                  <a:latin typeface="Nokia Sans Wide"/>
                  <a:cs typeface="Arial" charset="0"/>
                </a:endParaRPr>
              </a:p>
            </p:txBody>
          </p:sp>
          <p:sp>
            <p:nvSpPr>
              <p:cNvPr id="1056" name="Arc 109" hidden="1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US" sz="1200" b="1">
                  <a:solidFill>
                    <a:srgbClr val="000000"/>
                  </a:solidFill>
                  <a:latin typeface="Nokia Sans Wide"/>
                  <a:cs typeface="Arial" charset="0"/>
                </a:endParaRPr>
              </a:p>
            </p:txBody>
          </p:sp>
        </p:grpSp>
        <p:grpSp>
          <p:nvGrpSpPr>
            <p:cNvPr id="1044" name="MoonLegend4" hidden="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1104" y="3222"/>
              <a:ext cx="132" cy="132"/>
              <a:chOff x="4495" y="1198"/>
              <a:chExt cx="160" cy="160"/>
            </a:xfrm>
          </p:grpSpPr>
          <p:sp>
            <p:nvSpPr>
              <p:cNvPr id="1053" name="Oval 111" hidden="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GB" sz="1200" b="1">
                  <a:solidFill>
                    <a:srgbClr val="000000"/>
                  </a:solidFill>
                  <a:latin typeface="Nokia Sans Wide"/>
                  <a:cs typeface="Arial" charset="0"/>
                </a:endParaRPr>
              </a:p>
            </p:txBody>
          </p:sp>
          <p:sp>
            <p:nvSpPr>
              <p:cNvPr id="1054" name="Arc 112" hidden="1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US" sz="1200" b="1">
                  <a:solidFill>
                    <a:srgbClr val="000000"/>
                  </a:solidFill>
                  <a:latin typeface="Nokia Sans Wide"/>
                  <a:cs typeface="Arial" charset="0"/>
                </a:endParaRPr>
              </a:p>
            </p:txBody>
          </p:sp>
        </p:grpSp>
        <p:grpSp>
          <p:nvGrpSpPr>
            <p:cNvPr id="1045" name="MoonLegend5" hidden="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1104" y="3395"/>
              <a:ext cx="132" cy="132"/>
              <a:chOff x="4495" y="1440"/>
              <a:chExt cx="160" cy="160"/>
            </a:xfrm>
          </p:grpSpPr>
          <p:sp>
            <p:nvSpPr>
              <p:cNvPr id="1051" name="Oval 114" hidden="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GB" sz="1200" b="1">
                  <a:solidFill>
                    <a:srgbClr val="000000"/>
                  </a:solidFill>
                  <a:latin typeface="Nokia Sans Wide"/>
                  <a:cs typeface="Arial" charset="0"/>
                </a:endParaRPr>
              </a:p>
            </p:txBody>
          </p:sp>
          <p:sp>
            <p:nvSpPr>
              <p:cNvPr id="1052" name="Oval 115" hidden="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algn="ctr"/>
                <a:endParaRPr lang="en-GB" sz="1200" b="1">
                  <a:solidFill>
                    <a:srgbClr val="000000"/>
                  </a:solidFill>
                  <a:latin typeface="Nokia Sans Wide"/>
                  <a:cs typeface="Arial" charset="0"/>
                </a:endParaRPr>
              </a:p>
            </p:txBody>
          </p:sp>
        </p:grpSp>
        <p:sp>
          <p:nvSpPr>
            <p:cNvPr id="1046" name="Legend1" hidden="1"/>
            <p:cNvSpPr>
              <a:spLocks noChangeArrowheads="1"/>
            </p:cNvSpPr>
            <p:nvPr userDrawn="1"/>
          </p:nvSpPr>
          <p:spPr bwMode="gray">
            <a:xfrm>
              <a:off x="1314" y="2711"/>
              <a:ext cx="41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latin typeface="Nokia Sans Wide"/>
                  <a:cs typeface="Arial" charset="0"/>
                </a:rPr>
                <a:t>Legend1</a:t>
              </a:r>
            </a:p>
          </p:txBody>
        </p:sp>
        <p:sp>
          <p:nvSpPr>
            <p:cNvPr id="1047" name="Legend2" hidden="1"/>
            <p:cNvSpPr>
              <a:spLocks noChangeArrowheads="1"/>
            </p:cNvSpPr>
            <p:nvPr userDrawn="1"/>
          </p:nvSpPr>
          <p:spPr bwMode="gray">
            <a:xfrm>
              <a:off x="1314" y="2884"/>
              <a:ext cx="41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latin typeface="Nokia Sans Wide"/>
                  <a:cs typeface="Arial" charset="0"/>
                </a:rPr>
                <a:t>Legend2</a:t>
              </a:r>
            </a:p>
          </p:txBody>
        </p:sp>
        <p:sp>
          <p:nvSpPr>
            <p:cNvPr id="1048" name="Legend3" hidden="1"/>
            <p:cNvSpPr>
              <a:spLocks noChangeArrowheads="1"/>
            </p:cNvSpPr>
            <p:nvPr userDrawn="1"/>
          </p:nvSpPr>
          <p:spPr bwMode="gray">
            <a:xfrm>
              <a:off x="1314" y="3057"/>
              <a:ext cx="41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latin typeface="Nokia Sans Wide"/>
                  <a:cs typeface="Arial" charset="0"/>
                </a:rPr>
                <a:t>Legend3</a:t>
              </a:r>
            </a:p>
          </p:txBody>
        </p:sp>
        <p:sp>
          <p:nvSpPr>
            <p:cNvPr id="1049" name="Legend4" hidden="1"/>
            <p:cNvSpPr>
              <a:spLocks noChangeArrowheads="1"/>
            </p:cNvSpPr>
            <p:nvPr userDrawn="1"/>
          </p:nvSpPr>
          <p:spPr bwMode="gray">
            <a:xfrm>
              <a:off x="1314" y="3230"/>
              <a:ext cx="41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latin typeface="Nokia Sans Wide"/>
                  <a:cs typeface="Arial" charset="0"/>
                </a:rPr>
                <a:t>Legend4</a:t>
              </a:r>
            </a:p>
          </p:txBody>
        </p:sp>
        <p:sp>
          <p:nvSpPr>
            <p:cNvPr id="1050" name="Legend5" hidden="1"/>
            <p:cNvSpPr>
              <a:spLocks noChangeArrowheads="1"/>
            </p:cNvSpPr>
            <p:nvPr userDrawn="1"/>
          </p:nvSpPr>
          <p:spPr bwMode="gray">
            <a:xfrm>
              <a:off x="1314" y="3403"/>
              <a:ext cx="41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r>
                <a:rPr lang="en-US" sz="1200">
                  <a:solidFill>
                    <a:srgbClr val="000000"/>
                  </a:solidFill>
                  <a:latin typeface="Nokia Sans Wide"/>
                  <a:cs typeface="Arial" charset="0"/>
                </a:rPr>
                <a:t>Legend5</a:t>
              </a:r>
            </a:p>
          </p:txBody>
        </p:sp>
      </p:grpSp>
      <p:grpSp>
        <p:nvGrpSpPr>
          <p:cNvPr id="1035" name="Sticker" hidden="1"/>
          <p:cNvGrpSpPr>
            <a:grpSpLocks/>
          </p:cNvGrpSpPr>
          <p:nvPr/>
        </p:nvGrpSpPr>
        <p:grpSpPr bwMode="auto">
          <a:xfrm>
            <a:off x="8020034" y="1155748"/>
            <a:ext cx="953963" cy="212725"/>
            <a:chOff x="4855" y="376"/>
            <a:chExt cx="651" cy="134"/>
          </a:xfrm>
        </p:grpSpPr>
        <p:cxnSp>
          <p:nvCxnSpPr>
            <p:cNvPr id="1038" name="AutoShape 122" hidden="1"/>
            <p:cNvCxnSpPr>
              <a:cxnSpLocks noChangeShapeType="1"/>
              <a:stCxn id="1039" idx="4"/>
              <a:endCxn id="1039" idx="6"/>
            </p:cNvCxnSpPr>
            <p:nvPr userDrawn="1"/>
          </p:nvCxnSpPr>
          <p:spPr bwMode="gray">
            <a:xfrm>
              <a:off x="4855" y="510"/>
              <a:ext cx="65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039" name="AutoShape 123" hidden="1"/>
            <p:cNvSpPr>
              <a:spLocks noChangeArrowheads="1"/>
            </p:cNvSpPr>
            <p:nvPr userDrawn="1"/>
          </p:nvSpPr>
          <p:spPr bwMode="gray">
            <a:xfrm>
              <a:off x="4855" y="376"/>
              <a:ext cx="651" cy="13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43">
                <a:buClr>
                  <a:srgbClr val="0033CC"/>
                </a:buClr>
              </a:pPr>
              <a:r>
                <a:rPr lang="en-US" sz="1200">
                  <a:solidFill>
                    <a:srgbClr val="808080"/>
                  </a:solidFill>
                  <a:latin typeface="Nokia Sans Wide"/>
                  <a:cs typeface="Arial" charset="0"/>
                </a:rPr>
                <a:t>ILLUSTRATIVE</a:t>
              </a:r>
            </a:p>
          </p:txBody>
        </p:sp>
        <p:cxnSp>
          <p:nvCxnSpPr>
            <p:cNvPr id="1040" name="AutoShape 124" hidden="1"/>
            <p:cNvCxnSpPr>
              <a:cxnSpLocks noChangeShapeType="1"/>
              <a:stCxn id="1039" idx="2"/>
              <a:endCxn id="1039" idx="4"/>
            </p:cNvCxnSpPr>
            <p:nvPr userDrawn="1"/>
          </p:nvCxnSpPr>
          <p:spPr bwMode="gray">
            <a:xfrm>
              <a:off x="4855" y="376"/>
              <a:ext cx="0" cy="134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</p:grpSp>
      <p:sp>
        <p:nvSpPr>
          <p:cNvPr id="109572" name="doc id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3312" y="6489701"/>
            <a:ext cx="4488473" cy="459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  <a:spAutoFit/>
          </a:bodyPr>
          <a:lstStyle>
            <a:lvl1pPr algn="l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>
                <a:solidFill>
                  <a:srgbClr val="FF0000"/>
                </a:solidFill>
                <a:cs typeface="Arial" pitchFamily="34" charset="0"/>
              </a:defRPr>
            </a:lvl1pPr>
          </a:lstStyle>
          <a:p>
            <a:pPr>
              <a:buClr>
                <a:srgbClr val="040477"/>
              </a:buClr>
              <a:defRPr/>
            </a:pPr>
            <a:r>
              <a:rPr lang="en-US" sz="1200" b="1">
                <a:latin typeface="Nokia Sans Wide"/>
              </a:rPr>
              <a:t>SECRET for scenario planning purposes only, subject to change</a:t>
            </a:r>
          </a:p>
        </p:txBody>
      </p:sp>
      <p:sp>
        <p:nvSpPr>
          <p:cNvPr id="109580" name="pg num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4123" y="6518275"/>
            <a:ext cx="344366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spcAft>
                <a:spcPct val="0"/>
              </a:spcAft>
              <a:buClrTx/>
              <a:defRPr sz="800" b="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1EF40600-921E-4BC3-920D-84AF118C9767}" type="slidenum">
              <a:rPr lang="en-US">
                <a:latin typeface="Nokia Sans Wide"/>
              </a:rPr>
              <a:pPr>
                <a:defRPr/>
              </a:pPr>
              <a:t>‹#›</a:t>
            </a:fld>
            <a:endParaRPr lang="en-US" dirty="0">
              <a:latin typeface="Nokia Sans Wide"/>
            </a:endParaRPr>
          </a:p>
        </p:txBody>
      </p:sp>
      <p:sp>
        <p:nvSpPr>
          <p:cNvPr id="2" name="fc" descr="Company Confidential"/>
          <p:cNvSpPr txBox="1"/>
          <p:nvPr/>
        </p:nvSpPr>
        <p:spPr bwMode="auto">
          <a:xfrm>
            <a:off x="0" y="6642100"/>
            <a:ext cx="9144000" cy="2436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0477" tIns="44445" rIns="90477" bIns="44445" rtlCol="0">
            <a:spAutoFit/>
          </a:bodyPr>
          <a:lstStyle/>
          <a:p>
            <a:pPr algn="ctr" defTabSz="761908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 dirty="0" smtClean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71118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4" r:id="rId3"/>
    <p:sldLayoutId id="2147483935" r:id="rId4"/>
  </p:sldLayoutIdLst>
  <p:transition>
    <p:wipe dir="d"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8pPr>
      <a:lvl9pPr marL="182858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9pPr>
    </p:titleStyle>
    <p:bodyStyle>
      <a:lvl1pPr marL="342859" indent="-342859" algn="l" defTabSz="761908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8414" indent="-196826" algn="l" defTabSz="761908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SzPct val="125000"/>
        <a:buFont typeface="Nokia Sans Wide" pitchFamily="34" charset="0"/>
        <a:buChar char="▪"/>
        <a:defRPr sz="1600">
          <a:solidFill>
            <a:schemeClr val="tx1"/>
          </a:solidFill>
          <a:latin typeface="+mn-lt"/>
        </a:defRPr>
      </a:lvl2pPr>
      <a:lvl3pPr marL="455558" indent="-255558" algn="l" defTabSz="761908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SzPct val="120000"/>
        <a:buFont typeface="Nokia Sans Wide" pitchFamily="34" charset="0"/>
        <a:buChar char="–"/>
        <a:defRPr sz="1600">
          <a:solidFill>
            <a:schemeClr val="tx1"/>
          </a:solidFill>
          <a:latin typeface="+mn-lt"/>
        </a:defRPr>
      </a:lvl3pPr>
      <a:lvl4pPr marL="630162" indent="-173017" algn="l" defTabSz="761908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SzPct val="120000"/>
        <a:buFont typeface="Nokia Sans Wide" pitchFamily="34" charset="0"/>
        <a:buChar char="▫"/>
        <a:defRPr sz="1600">
          <a:solidFill>
            <a:schemeClr val="tx1"/>
          </a:solidFill>
          <a:latin typeface="+mn-lt"/>
        </a:defRPr>
      </a:lvl4pPr>
      <a:lvl5pPr marL="798417" indent="-166668" algn="l" defTabSz="761908" rtl="0" eaLnBrk="0" fontAlgn="base" hangingPunct="0">
        <a:spcBef>
          <a:spcPct val="0"/>
        </a:spcBef>
        <a:spcAft>
          <a:spcPct val="0"/>
        </a:spcAft>
        <a:buClr>
          <a:schemeClr val="accent1"/>
        </a:buClr>
        <a:buSzPct val="89000"/>
        <a:buFont typeface="Nokia Sans Wide" pitchFamily="34" charset="0"/>
        <a:buChar char="-"/>
        <a:defRPr sz="1600">
          <a:solidFill>
            <a:schemeClr val="tx1"/>
          </a:solidFill>
          <a:latin typeface="+mn-lt"/>
        </a:defRPr>
      </a:lvl5pPr>
      <a:lvl6pPr marL="2650807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3107952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3565097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402224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971" y="287890"/>
            <a:ext cx="8388000" cy="12821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4971" y="1600206"/>
            <a:ext cx="84074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/>
              <a:t>Company Confidential    © 2011 Nokia   HRLT Day 2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2" y="6449209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DFF4ECC-2EB9-4399-B072-B53D46A7B74E}" type="slidenum">
              <a:rPr lang="en-GB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/>
          </a:p>
        </p:txBody>
      </p:sp>
      <p:sp>
        <p:nvSpPr>
          <p:cNvPr id="4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10456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  <p:sldLayoutId id="2147483948" r:id="rId12"/>
    <p:sldLayoutId id="2147483949" r:id="rId13"/>
  </p:sldLayoutIdLst>
  <p:hf hdr="0" dt="0"/>
  <p:txStyles>
    <p:titleStyle>
      <a:lvl1pPr algn="l" defTabSz="914290" rtl="0" eaLnBrk="1" latinLnBrk="0" hangingPunct="1">
        <a:spcBef>
          <a:spcPct val="0"/>
        </a:spcBef>
        <a:buNone/>
        <a:defRPr sz="4800" b="0" kern="1200">
          <a:solidFill>
            <a:srgbClr val="124191"/>
          </a:solidFill>
          <a:latin typeface="Nokia Pure Headline" pitchFamily="34" charset="0"/>
          <a:ea typeface="+mj-ea"/>
          <a:cs typeface="+mj-cs"/>
        </a:defRPr>
      </a:lvl1pPr>
    </p:titleStyle>
    <p:bodyStyle>
      <a:lvl1pPr marL="180953" indent="-180953" algn="l" defTabSz="914290" rtl="0" eaLnBrk="1" latinLnBrk="0" hangingPunct="1">
        <a:spcBef>
          <a:spcPts val="600"/>
        </a:spcBef>
        <a:buFont typeface="Arial" pitchFamily="34" charset="0"/>
        <a:buChar char="•"/>
        <a:defRPr sz="2400" kern="1200">
          <a:solidFill>
            <a:srgbClr val="646464"/>
          </a:solidFill>
          <a:latin typeface="Nokia Pure Text" pitchFamily="34" charset="0"/>
          <a:ea typeface="+mn-ea"/>
          <a:cs typeface="+mn-cs"/>
        </a:defRPr>
      </a:lvl1pPr>
      <a:lvl2pPr marL="626988" indent="-182541" algn="l" defTabSz="914290" rtl="0" eaLnBrk="1" latinLnBrk="0" hangingPunct="1">
        <a:spcBef>
          <a:spcPts val="0"/>
        </a:spcBef>
        <a:buFont typeface="Arial" pitchFamily="34" charset="0"/>
        <a:buChar char="•"/>
        <a:defRPr sz="2200" kern="1200">
          <a:solidFill>
            <a:srgbClr val="646464"/>
          </a:solidFill>
          <a:latin typeface="Nokia Pure Text" pitchFamily="34" charset="0"/>
          <a:ea typeface="+mn-ea"/>
          <a:cs typeface="+mn-cs"/>
        </a:defRPr>
      </a:lvl2pPr>
      <a:lvl3pPr marL="1079370" indent="-165080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rgbClr val="646464"/>
          </a:solidFill>
          <a:latin typeface="Nokia Pure Text" pitchFamily="34" charset="0"/>
          <a:ea typeface="+mn-ea"/>
          <a:cs typeface="+mn-cs"/>
        </a:defRPr>
      </a:lvl3pPr>
      <a:lvl4pPr marL="1523817" indent="-152382" algn="l" defTabSz="91429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rgbClr val="646464"/>
          </a:solidFill>
          <a:latin typeface="Nokia Pure Text" pitchFamily="34" charset="0"/>
          <a:ea typeface="+mn-ea"/>
          <a:cs typeface="+mn-cs"/>
        </a:defRPr>
      </a:lvl4pPr>
      <a:lvl5pPr marL="1976200" indent="-147620" algn="l" defTabSz="91429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646464"/>
          </a:solidFill>
          <a:latin typeface="Nokia Pure Text" pitchFamily="34" charset="0"/>
          <a:ea typeface="+mn-ea"/>
          <a:cs typeface="+mn-cs"/>
        </a:defRPr>
      </a:lvl5pPr>
      <a:lvl6pPr marL="2514298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646464"/>
          </a:solidFill>
          <a:latin typeface="Nokia Pure Text" pitchFamily="34" charset="0"/>
          <a:ea typeface="+mn-ea"/>
          <a:cs typeface="+mn-cs"/>
        </a:defRPr>
      </a:lvl6pPr>
      <a:lvl7pPr marL="2971444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1400" kern="1200" baseline="0">
          <a:solidFill>
            <a:srgbClr val="646464"/>
          </a:solidFill>
          <a:latin typeface="Nokia Pure Text" pitchFamily="34" charset="0"/>
          <a:ea typeface="+mn-ea"/>
          <a:cs typeface="+mn-cs"/>
        </a:defRPr>
      </a:lvl7pPr>
      <a:lvl8pPr marL="3428589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1400" kern="1200" baseline="0">
          <a:solidFill>
            <a:srgbClr val="646464"/>
          </a:solidFill>
          <a:latin typeface="Nokia Pure Text" pitchFamily="34" charset="0"/>
          <a:ea typeface="+mn-ea"/>
          <a:cs typeface="+mn-cs"/>
        </a:defRPr>
      </a:lvl8pPr>
      <a:lvl9pPr marL="3885734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1400" kern="1200" baseline="0">
          <a:solidFill>
            <a:srgbClr val="646464"/>
          </a:solidFill>
          <a:latin typeface="Nokia Pure Text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30" tIns="45714" rIns="91430" bIns="4571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30" tIns="45714" rIns="91430" bIns="4571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96"/>
            <a:ext cx="2133600" cy="36512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2" y="6356396"/>
            <a:ext cx="2895600" cy="36512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96"/>
            <a:ext cx="2133600" cy="36512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4021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</p:sldLayoutIdLst>
  <p:txStyles>
    <p:titleStyle>
      <a:lvl1pPr algn="ctr" defTabSz="91429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59" indent="-342859" algn="l" defTabSz="91429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62" indent="-285716" algn="l" defTabSz="91429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63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08" indent="-228572" algn="l" defTabSz="91429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52" indent="-228572" algn="l" defTabSz="91429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98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44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89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34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9415" y="67762"/>
            <a:ext cx="8785225" cy="1056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415" y="1123951"/>
            <a:ext cx="8785225" cy="461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3517" y="6447367"/>
            <a:ext cx="344487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spcAft>
                <a:spcPct val="0"/>
              </a:spcAft>
              <a:buClrTx/>
              <a:defRPr sz="800">
                <a:solidFill>
                  <a:schemeClr val="bg1"/>
                </a:solidFill>
                <a:ea typeface="ＭＳ Ｐゴシック" pitchFamily="-112" charset="-128"/>
              </a:defRPr>
            </a:lvl1pPr>
          </a:lstStyle>
          <a:p>
            <a:pPr eaLnBrk="0" hangingPunct="0">
              <a:defRPr/>
            </a:pPr>
            <a:fld id="{9429EAD0-1ED7-4A75-82FF-2E9DF2FA115A}" type="slidenum">
              <a:rPr lang="en-US" smtClean="0">
                <a:solidFill>
                  <a:srgbClr val="FFFFFF"/>
                </a:solidFill>
                <a:latin typeface="Nokia Sans Wide"/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Nokia Sans Wide"/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850" y="6447416"/>
            <a:ext cx="3910013" cy="25611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 sz="800" noProof="1">
                <a:solidFill>
                  <a:schemeClr val="bg1"/>
                </a:solidFill>
                <a:ea typeface="ＭＳ Ｐゴシック" pitchFamily="-112" charset="-128"/>
                <a:cs typeface="Nokia Standard Multiscript" pitchFamily="34" charset="0"/>
              </a:defRPr>
            </a:lvl1pPr>
          </a:lstStyle>
          <a:p>
            <a:pPr eaLnBrk="0" hangingPunct="0">
              <a:defRPr/>
            </a:pPr>
            <a:r>
              <a:rPr lang="en-US" dirty="0" smtClean="0">
                <a:solidFill>
                  <a:srgbClr val="FFFFFF"/>
                </a:solidFill>
                <a:latin typeface="Nokia Sans Wide"/>
              </a:rPr>
              <a:t>Company Confidential. ©2011 Nokia</a:t>
            </a:r>
            <a:endParaRPr lang="en-US" dirty="0">
              <a:solidFill>
                <a:srgbClr val="FFFFFF"/>
              </a:solidFill>
              <a:latin typeface="Nokia Sans Wide"/>
            </a:endParaRPr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6642100"/>
            <a:ext cx="9144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99411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</p:sldLayoutIdLst>
  <p:transition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+mj-lt"/>
          <a:ea typeface="MS PGothic" pitchFamily="34" charset="-128"/>
          <a:cs typeface="ＭＳ Ｐゴシック" pitchFamily="-111" charset="-128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MS PGothic" pitchFamily="34" charset="-128"/>
          <a:cs typeface="ＭＳ Ｐゴシック" pitchFamily="-111" charset="-128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MS PGothic" pitchFamily="34" charset="-128"/>
          <a:cs typeface="ＭＳ Ｐゴシック" pitchFamily="-111" charset="-128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MS PGothic" pitchFamily="34" charset="-128"/>
          <a:cs typeface="ＭＳ Ｐゴシック" pitchFamily="-111" charset="-128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MS PGothic" pitchFamily="34" charset="-128"/>
          <a:cs typeface="ＭＳ Ｐゴシック" pitchFamily="-111" charset="-128"/>
        </a:defRPr>
      </a:lvl5pPr>
      <a:lvl6pPr marL="4572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ＭＳ Ｐゴシック" pitchFamily="34" charset="-128"/>
        </a:defRPr>
      </a:lvl6pPr>
      <a:lvl7pPr marL="9144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ＭＳ Ｐゴシック" pitchFamily="34" charset="-128"/>
        </a:defRPr>
      </a:lvl7pPr>
      <a:lvl8pPr marL="13716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ＭＳ Ｐゴシック" pitchFamily="34" charset="-128"/>
        </a:defRPr>
      </a:lvl8pPr>
      <a:lvl9pPr marL="182880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ＭＳ Ｐゴシック" pitchFamily="34" charset="-128"/>
        </a:defRPr>
      </a:lvl9pPr>
    </p:titleStyle>
    <p:bodyStyle>
      <a:lvl1pPr marL="192088" indent="-192088" algn="l" defTabSz="762000" rtl="0" eaLnBrk="0" fontAlgn="base" hangingPunct="0">
        <a:spcBef>
          <a:spcPct val="15000"/>
        </a:spcBef>
        <a:spcAft>
          <a:spcPct val="15000"/>
        </a:spcAft>
        <a:buClr>
          <a:schemeClr val="tx2">
            <a:lumMod val="20000"/>
            <a:lumOff val="80000"/>
          </a:schemeClr>
        </a:buClr>
        <a:buChar char="•"/>
        <a:defRPr sz="2000">
          <a:solidFill>
            <a:schemeClr val="bg1"/>
          </a:solidFill>
          <a:latin typeface="+mn-lt"/>
          <a:ea typeface="MS PGothic" pitchFamily="34" charset="-128"/>
          <a:cs typeface="ＭＳ Ｐゴシック" pitchFamily="-111" charset="-128"/>
        </a:defRPr>
      </a:lvl1pPr>
      <a:lvl2pPr marL="666750" indent="-195263" algn="l" defTabSz="762000" rtl="0" eaLnBrk="0" fontAlgn="base" hangingPunct="0">
        <a:spcBef>
          <a:spcPct val="15000"/>
        </a:spcBef>
        <a:spcAft>
          <a:spcPct val="15000"/>
        </a:spcAft>
        <a:buClr>
          <a:schemeClr val="tx2">
            <a:lumMod val="20000"/>
            <a:lumOff val="80000"/>
          </a:schemeClr>
        </a:buClr>
        <a:buChar char="•"/>
        <a:defRPr>
          <a:solidFill>
            <a:schemeClr val="bg1"/>
          </a:solidFill>
          <a:latin typeface="+mn-lt"/>
          <a:ea typeface="MS PGothic" pitchFamily="34" charset="-128"/>
        </a:defRPr>
      </a:lvl2pPr>
      <a:lvl3pPr marL="1147763" indent="-195263" algn="l" defTabSz="762000" rtl="0" eaLnBrk="0" fontAlgn="base" hangingPunct="0">
        <a:spcBef>
          <a:spcPct val="15000"/>
        </a:spcBef>
        <a:spcAft>
          <a:spcPct val="15000"/>
        </a:spcAft>
        <a:buClr>
          <a:schemeClr val="tx2">
            <a:lumMod val="20000"/>
            <a:lumOff val="80000"/>
          </a:schemeClr>
        </a:buClr>
        <a:buChar char="•"/>
        <a:defRPr sz="1600">
          <a:solidFill>
            <a:schemeClr val="bg1"/>
          </a:solidFill>
          <a:latin typeface="+mn-lt"/>
          <a:ea typeface="MS PGothic" pitchFamily="34" charset="-128"/>
        </a:defRPr>
      </a:lvl3pPr>
      <a:lvl4pPr marL="1712913" indent="-185738" algn="l" defTabSz="762000" rtl="0" eaLnBrk="0" fontAlgn="base" hangingPunct="0">
        <a:spcBef>
          <a:spcPct val="15000"/>
        </a:spcBef>
        <a:spcAft>
          <a:spcPct val="15000"/>
        </a:spcAft>
        <a:buClr>
          <a:schemeClr val="tx2">
            <a:lumMod val="20000"/>
            <a:lumOff val="80000"/>
          </a:schemeClr>
        </a:buClr>
        <a:buChar char="•"/>
        <a:defRPr sz="1400">
          <a:solidFill>
            <a:schemeClr val="bg1"/>
          </a:solidFill>
          <a:latin typeface="+mn-lt"/>
          <a:ea typeface="MS PGothic" pitchFamily="34" charset="-128"/>
        </a:defRPr>
      </a:lvl4pPr>
      <a:lvl5pPr marL="2193925" indent="-188913" algn="l" defTabSz="762000" rtl="0" eaLnBrk="0" fontAlgn="base" hangingPunct="0">
        <a:spcBef>
          <a:spcPct val="15000"/>
        </a:spcBef>
        <a:spcAft>
          <a:spcPct val="15000"/>
        </a:spcAft>
        <a:buClr>
          <a:schemeClr val="tx2">
            <a:lumMod val="20000"/>
            <a:lumOff val="80000"/>
          </a:schemeClr>
        </a:buClr>
        <a:buChar char="•"/>
        <a:defRPr>
          <a:solidFill>
            <a:schemeClr val="bg1"/>
          </a:solidFill>
          <a:latin typeface="+mn-lt"/>
          <a:ea typeface="MS PGothic" pitchFamily="34" charset="-128"/>
        </a:defRPr>
      </a:lvl5pPr>
      <a:lvl6pPr marL="2651125" indent="-188913" algn="l" defTabSz="762000" rtl="0" eaLnBrk="0" fontAlgn="base" hangingPunct="0">
        <a:spcBef>
          <a:spcPct val="15000"/>
        </a:spcBef>
        <a:spcAft>
          <a:spcPct val="15000"/>
        </a:spcAft>
        <a:buClr>
          <a:srgbClr val="0033CC"/>
        </a:buClr>
        <a:buChar char="•"/>
        <a:defRPr>
          <a:solidFill>
            <a:schemeClr val="tx1"/>
          </a:solidFill>
          <a:latin typeface="+mn-lt"/>
          <a:ea typeface="+mn-ea"/>
        </a:defRPr>
      </a:lvl6pPr>
      <a:lvl7pPr marL="3108325" indent="-188913" algn="l" defTabSz="762000" rtl="0" eaLnBrk="0" fontAlgn="base" hangingPunct="0">
        <a:spcBef>
          <a:spcPct val="15000"/>
        </a:spcBef>
        <a:spcAft>
          <a:spcPct val="15000"/>
        </a:spcAft>
        <a:buClr>
          <a:srgbClr val="0033CC"/>
        </a:buClr>
        <a:buChar char="•"/>
        <a:defRPr>
          <a:solidFill>
            <a:schemeClr val="tx1"/>
          </a:solidFill>
          <a:latin typeface="+mn-lt"/>
          <a:ea typeface="+mn-ea"/>
        </a:defRPr>
      </a:lvl7pPr>
      <a:lvl8pPr marL="3565525" indent="-188913" algn="l" defTabSz="762000" rtl="0" eaLnBrk="0" fontAlgn="base" hangingPunct="0">
        <a:spcBef>
          <a:spcPct val="15000"/>
        </a:spcBef>
        <a:spcAft>
          <a:spcPct val="15000"/>
        </a:spcAft>
        <a:buClr>
          <a:srgbClr val="0033CC"/>
        </a:buClr>
        <a:buChar char="•"/>
        <a:defRPr>
          <a:solidFill>
            <a:schemeClr val="tx1"/>
          </a:solidFill>
          <a:latin typeface="+mn-lt"/>
          <a:ea typeface="+mn-ea"/>
        </a:defRPr>
      </a:lvl8pPr>
      <a:lvl9pPr marL="4022725" indent="-188913" algn="l" defTabSz="762000" rtl="0" eaLnBrk="0" fontAlgn="base" hangingPunct="0">
        <a:spcBef>
          <a:spcPct val="15000"/>
        </a:spcBef>
        <a:spcAft>
          <a:spcPct val="15000"/>
        </a:spcAft>
        <a:buClr>
          <a:srgbClr val="0033CC"/>
        </a:buClr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9985" y="2"/>
            <a:ext cx="8804031" cy="1128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79" y="1128713"/>
            <a:ext cx="8805497" cy="4972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Nokia PowerPoint 2008 Template, A4 </a:t>
            </a:r>
            <a:br>
              <a:rPr lang="en-US" smtClean="0"/>
            </a:br>
            <a:r>
              <a:rPr lang="en-US" smtClean="0"/>
              <a:t>Title font: Nokia Large bold 32 pt</a:t>
            </a:r>
            <a:br>
              <a:rPr lang="en-US" smtClean="0"/>
            </a:br>
            <a:r>
              <a:rPr lang="en-US" smtClean="0"/>
              <a:t>Copy font: Nokia Sans Wide 20 pt (regular, bold or italic)</a:t>
            </a:r>
          </a:p>
          <a:p>
            <a:pPr lvl="0"/>
            <a:r>
              <a:rPr lang="en-US" smtClean="0"/>
              <a:t>1st Level Bullet</a:t>
            </a:r>
          </a:p>
          <a:p>
            <a:pPr lvl="1"/>
            <a:r>
              <a:rPr lang="en-US" smtClean="0"/>
              <a:t>2nd Level Bullet (size: 18 pt)</a:t>
            </a:r>
          </a:p>
          <a:p>
            <a:pPr lvl="2"/>
            <a:r>
              <a:rPr lang="en-US" smtClean="0"/>
              <a:t>3rd Level Bullet (size: 16 pt)</a:t>
            </a:r>
          </a:p>
          <a:p>
            <a:pPr lvl="3"/>
            <a:r>
              <a:rPr lang="en-US" smtClean="0"/>
              <a:t>4th Level Bullet (size: 14 pt)</a:t>
            </a:r>
          </a:p>
          <a:p>
            <a:pPr lvl="0"/>
            <a:r>
              <a:rPr lang="en-US" smtClean="0"/>
              <a:t>Footer (font: Nokia Sans Wide, 8 pt):</a:t>
            </a:r>
            <a:br>
              <a:rPr lang="en-US" smtClean="0"/>
            </a:br>
            <a:r>
              <a:rPr lang="en-US" smtClean="0"/>
              <a:t>“©2008 Nokia   V1 Filename .ppt / yyyy-mm-dd / Initials” is set via “Insert” menu / “Slide number”– NOT via SLIDE MASTER</a:t>
            </a:r>
          </a:p>
          <a:p>
            <a:pPr lvl="0"/>
            <a:r>
              <a:rPr lang="en-US" smtClean="0"/>
              <a:t>Nokia PowerPoint presentations should always be marked with the appropriate level of confidentiality: Company Confidential (default), Confidential or Secret. More info from Corporate Security web.</a:t>
            </a:r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5558" y="6524625"/>
            <a:ext cx="3909646" cy="1920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90488" tIns="44450" rIns="90488" bIns="4445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 sz="800" noProof="1"/>
            </a:lvl1pPr>
          </a:lstStyle>
          <a:p>
            <a:pPr eaLnBrk="0" hangingPunct="0">
              <a:defRPr/>
            </a:pPr>
            <a:r>
              <a:rPr lang="en-US" dirty="0">
                <a:solidFill>
                  <a:srgbClr val="000000"/>
                </a:solidFill>
                <a:latin typeface="Nokia Sans Wide"/>
              </a:rPr>
              <a:t>© 2008  Nokia 	 V1-Filename.ppt / YYYY-MM-DD / Initials</a:t>
            </a:r>
          </a:p>
        </p:txBody>
      </p:sp>
      <p:sp>
        <p:nvSpPr>
          <p:cNvPr id="109573" name="Text Box 5"/>
          <p:cNvSpPr txBox="1">
            <a:spLocks noChangeArrowheads="1"/>
          </p:cNvSpPr>
          <p:nvPr/>
        </p:nvSpPr>
        <p:spPr bwMode="auto">
          <a:xfrm>
            <a:off x="197830" y="6273800"/>
            <a:ext cx="2810608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sz="1200" dirty="0">
                <a:solidFill>
                  <a:srgbClr val="000000"/>
                </a:solidFill>
                <a:latin typeface="Nokia Sans Wide"/>
              </a:rPr>
              <a:t>Company Confidential</a:t>
            </a: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7529148" y="6301133"/>
            <a:ext cx="1355481" cy="366713"/>
            <a:chOff x="5138" y="3969"/>
            <a:chExt cx="925" cy="231"/>
          </a:xfrm>
        </p:grpSpPr>
        <p:pic>
          <p:nvPicPr>
            <p:cNvPr id="2056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5314" y="4025"/>
              <a:ext cx="749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9577" name="Rectangle 9"/>
            <p:cNvSpPr>
              <a:spLocks noChangeArrowheads="1"/>
            </p:cNvSpPr>
            <p:nvPr userDrawn="1"/>
          </p:nvSpPr>
          <p:spPr bwMode="auto">
            <a:xfrm>
              <a:off x="5138" y="3969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 dirty="0">
                <a:solidFill>
                  <a:srgbClr val="000000"/>
                </a:solidFill>
                <a:latin typeface="Nokia Sans Wide"/>
              </a:endParaRPr>
            </a:p>
          </p:txBody>
        </p:sp>
      </p:grp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4123" y="6518275"/>
            <a:ext cx="344366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spcAft>
                <a:spcPct val="0"/>
              </a:spcAft>
              <a:buClrTx/>
              <a:defRPr sz="800"/>
            </a:lvl1pPr>
          </a:lstStyle>
          <a:p>
            <a:pPr eaLnBrk="0" hangingPunct="0">
              <a:defRPr/>
            </a:pPr>
            <a:fld id="{84C8D5A5-6B64-41B9-8F31-379048994316}" type="slidenum">
              <a:rPr lang="en-US">
                <a:solidFill>
                  <a:srgbClr val="000000"/>
                </a:solidFill>
                <a:latin typeface="Nokia Sans Wide"/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000000"/>
              </a:solidFill>
              <a:latin typeface="Nokia Sans Wide"/>
            </a:endParaRPr>
          </a:p>
        </p:txBody>
      </p:sp>
      <p:sp>
        <p:nvSpPr>
          <p:cNvPr id="3" name="fc" descr="Company Confidential"/>
          <p:cNvSpPr txBox="1"/>
          <p:nvPr userDrawn="1"/>
        </p:nvSpPr>
        <p:spPr>
          <a:xfrm>
            <a:off x="0" y="6642100"/>
            <a:ext cx="9144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69909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</p:sldLayoutIdLst>
  <p:transition>
    <p:wipe dir="d"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9pPr>
    </p:titleStyle>
    <p:bodyStyle>
      <a:lvl1pPr marL="192088" indent="-192088" algn="l" defTabSz="762000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66750" indent="-195263" algn="l" defTabSz="762000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2pPr>
      <a:lvl3pPr marL="1147763" indent="-195263" algn="l" defTabSz="762000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712913" indent="-185738" algn="l" defTabSz="762000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4pPr>
      <a:lvl5pPr marL="2193925" indent="-188913" algn="l" defTabSz="762000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5pPr>
      <a:lvl6pPr marL="2651125" indent="-188913" algn="l" defTabSz="762000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3108325" indent="-188913" algn="l" defTabSz="762000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3565525" indent="-188913" algn="l" defTabSz="762000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4022725" indent="-188913" algn="l" defTabSz="762000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35" tIns="45717" rIns="91435" bIns="45717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91435" tIns="45717" rIns="91435" bIns="45717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vert="horz" lIns="91435" tIns="45717" rIns="91435" bIns="4571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D76DE42A-F26F-414E-B97D-9043C94FA712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56351"/>
            <a:ext cx="2895600" cy="365125"/>
          </a:xfrm>
          <a:prstGeom prst="rect">
            <a:avLst/>
          </a:prstGeom>
        </p:spPr>
        <p:txBody>
          <a:bodyPr vert="horz" lIns="91435" tIns="45717" rIns="91435" bIns="4571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vert="horz" lIns="91435" tIns="45717" rIns="91435" bIns="4571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104F9FA-F7EE-45D4-9B3B-5740A8432CBC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fc" descr="Company Confidential"/>
          <p:cNvSpPr txBox="1"/>
          <p:nvPr userDrawn="1"/>
        </p:nvSpPr>
        <p:spPr>
          <a:xfrm>
            <a:off x="0" y="6642100"/>
            <a:ext cx="9144000" cy="246215"/>
          </a:xfrm>
          <a:prstGeom prst="rect">
            <a:avLst/>
          </a:prstGeom>
          <a:noFill/>
        </p:spPr>
        <p:txBody>
          <a:bodyPr vert="horz" lIns="91435" tIns="45717" rIns="91435" bIns="45717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0197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</p:sldLayoutIdLst>
  <p:txStyles>
    <p:titleStyle>
      <a:lvl1pPr algn="ctr" defTabSz="914345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80" indent="-342880" algn="l" defTabSz="914345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06" indent="-285733" algn="l" defTabSz="914345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32" indent="-228586" algn="l" defTabSz="91434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04" indent="-228586" algn="l" defTabSz="914345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76" indent="-228586" algn="l" defTabSz="914345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9" indent="-228586" algn="l" defTabSz="91434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22" indent="-228586" algn="l" defTabSz="91434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94" indent="-228586" algn="l" defTabSz="91434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67" indent="-228586" algn="l" defTabSz="91434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3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5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8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0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3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35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08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1" algn="l" defTabSz="91434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9985" y="66"/>
            <a:ext cx="8804031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4" rIns="91430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80" y="1128713"/>
            <a:ext cx="8805497" cy="497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Nokia PowerPoint 2008 Template, A4 </a:t>
            </a:r>
            <a:br>
              <a:rPr lang="en-US" smtClean="0"/>
            </a:br>
            <a:r>
              <a:rPr lang="en-US" smtClean="0"/>
              <a:t>Title font: Nokia Large bold 32 pt</a:t>
            </a:r>
            <a:br>
              <a:rPr lang="en-US" smtClean="0"/>
            </a:br>
            <a:r>
              <a:rPr lang="en-US" smtClean="0"/>
              <a:t>Copy font: Nokia Sans Wide 20 pt (regular, bold or italic)</a:t>
            </a:r>
          </a:p>
          <a:p>
            <a:pPr lvl="0"/>
            <a:r>
              <a:rPr lang="en-US" smtClean="0"/>
              <a:t>1st Level Bullet</a:t>
            </a:r>
          </a:p>
          <a:p>
            <a:pPr lvl="1"/>
            <a:r>
              <a:rPr lang="en-US" smtClean="0"/>
              <a:t>2nd Level Bullet (size: 18 pt)</a:t>
            </a:r>
          </a:p>
          <a:p>
            <a:pPr lvl="2"/>
            <a:r>
              <a:rPr lang="en-US" smtClean="0"/>
              <a:t>3rd Level Bullet (size: 16 pt)</a:t>
            </a:r>
          </a:p>
          <a:p>
            <a:pPr lvl="3"/>
            <a:r>
              <a:rPr lang="en-US" smtClean="0"/>
              <a:t>4th Level Bullet (size: 14 pt)</a:t>
            </a:r>
          </a:p>
          <a:p>
            <a:pPr lvl="0"/>
            <a:r>
              <a:rPr lang="en-US" smtClean="0"/>
              <a:t>Footer (font: Nokia Sans Wide, 8 pt):</a:t>
            </a:r>
            <a:br>
              <a:rPr lang="en-US" smtClean="0"/>
            </a:br>
            <a:r>
              <a:rPr lang="en-US" smtClean="0"/>
              <a:t>“©2008 Nokia   V1 Filename .ppt / yyyy-mm-dd / Initials” is set via “Insert” menu / “Slide number”– NOT via SLIDE MASTER</a:t>
            </a:r>
          </a:p>
          <a:p>
            <a:pPr lvl="0"/>
            <a:r>
              <a:rPr lang="en-US" smtClean="0"/>
              <a:t>Nokia PowerPoint presentations should always be marked with the appropriate level of confidentiality: Company Confidential (default), Confidential or Secret. More info from Corporate Security web.</a:t>
            </a:r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5559" y="6524625"/>
            <a:ext cx="3909646" cy="1920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0000"/>
              </a:lnSpc>
              <a:defRPr sz="800" noProof="1"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  <a:latin typeface="Nokia Sans Wide" pitchFamily="34" charset="0"/>
              </a:rPr>
              <a:t>© 2008  Nokia 	 V1-Filename.ppt / YYYY-MM-DD / Initials</a:t>
            </a:r>
          </a:p>
        </p:txBody>
      </p:sp>
      <p:sp>
        <p:nvSpPr>
          <p:cNvPr id="109573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2054" name="Group 11"/>
          <p:cNvGrpSpPr>
            <a:grpSpLocks/>
          </p:cNvGrpSpPr>
          <p:nvPr/>
        </p:nvGrpSpPr>
        <p:grpSpPr bwMode="auto">
          <a:xfrm>
            <a:off x="7529156" y="6300938"/>
            <a:ext cx="1355481" cy="366713"/>
            <a:chOff x="5138" y="3969"/>
            <a:chExt cx="925" cy="231"/>
          </a:xfrm>
        </p:grpSpPr>
        <p:pic>
          <p:nvPicPr>
            <p:cNvPr id="2056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" y="4025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577" name="Rectangle 9"/>
            <p:cNvSpPr>
              <a:spLocks noChangeArrowheads="1"/>
            </p:cNvSpPr>
            <p:nvPr userDrawn="1"/>
          </p:nvSpPr>
          <p:spPr bwMode="auto">
            <a:xfrm>
              <a:off x="5138" y="3969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4123" y="6518275"/>
            <a:ext cx="344366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spcAft>
                <a:spcPct val="0"/>
              </a:spcAft>
              <a:buClrTx/>
              <a:defRPr sz="800"/>
            </a:lvl1pPr>
          </a:lstStyle>
          <a:p>
            <a:pPr>
              <a:defRPr/>
            </a:pPr>
            <a:fld id="{4647AA11-A057-4090-A2E7-774E3836CBB1}" type="slidenum">
              <a:rPr lang="en-US">
                <a:solidFill>
                  <a:srgbClr val="000000"/>
                </a:solidFill>
                <a:latin typeface="Nokia Sans Wide" pitchFamily="34" charset="0"/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4464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</p:sldLayoutIdLst>
  <p:transition>
    <p:wipe dir="d"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5pPr>
      <a:lvl6pPr marL="45714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6pPr>
      <a:lvl7pPr marL="91429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7pPr>
      <a:lvl8pPr marL="137143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8pPr>
      <a:lvl9pPr marL="182858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9pPr>
    </p:titleStyle>
    <p:bodyStyle>
      <a:lvl1pPr marL="192065" indent="-192065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66670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2pPr>
      <a:lvl3pPr marL="1147625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712708" indent="-185716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4pPr>
      <a:lvl5pPr marL="219366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5pPr>
      <a:lvl6pPr marL="265080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3107952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356509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4022243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30" tIns="45714" rIns="91430" bIns="4571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16"/>
            <a:ext cx="8229600" cy="4525963"/>
          </a:xfrm>
          <a:prstGeom prst="rect">
            <a:avLst/>
          </a:prstGeom>
        </p:spPr>
        <p:txBody>
          <a:bodyPr vert="horz" lIns="91430" tIns="45714" rIns="91430" bIns="4571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7256"/>
            <a:ext cx="2133600" cy="36512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2" y="6357256"/>
            <a:ext cx="2895600" cy="36512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7256"/>
            <a:ext cx="2133600" cy="36512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457590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  <p:sldLayoutId id="2147483994" r:id="rId4"/>
    <p:sldLayoutId id="2147483995" r:id="rId5"/>
    <p:sldLayoutId id="2147483996" r:id="rId6"/>
    <p:sldLayoutId id="2147483997" r:id="rId7"/>
    <p:sldLayoutId id="2147483998" r:id="rId8"/>
    <p:sldLayoutId id="2147483999" r:id="rId9"/>
    <p:sldLayoutId id="2147484000" r:id="rId10"/>
    <p:sldLayoutId id="2147484001" r:id="rId11"/>
    <p:sldLayoutId id="2147484002" r:id="rId12"/>
  </p:sldLayoutIdLst>
  <p:txStyles>
    <p:titleStyle>
      <a:lvl1pPr algn="ctr" defTabSz="91429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59" indent="-342859" algn="l" defTabSz="91429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62" indent="-285716" algn="l" defTabSz="91429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63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08" indent="-228572" algn="l" defTabSz="91429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52" indent="-228572" algn="l" defTabSz="91429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98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44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89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34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971" y="287890"/>
            <a:ext cx="8388000" cy="12821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4971" y="1600206"/>
            <a:ext cx="8407400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97700" y="6449209"/>
            <a:ext cx="6695995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mtClean="0"/>
              <a:t>Company Confidential    © 2011 Nokia   HRLT Day 2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202" y="6449209"/>
            <a:ext cx="298376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800">
                <a:solidFill>
                  <a:srgbClr val="124191"/>
                </a:solidFill>
                <a:latin typeface="+mj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1DFF4ECC-2EB9-4399-B072-B53D46A7B74E}" type="slidenum">
              <a:rPr lang="en-GB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/>
          </a:p>
        </p:txBody>
      </p:sp>
      <p:sp>
        <p:nvSpPr>
          <p:cNvPr id="4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8353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1" r:id="rId6"/>
    <p:sldLayoutId id="2147484022" r:id="rId7"/>
    <p:sldLayoutId id="2147484023" r:id="rId8"/>
    <p:sldLayoutId id="2147484024" r:id="rId9"/>
    <p:sldLayoutId id="2147484025" r:id="rId10"/>
    <p:sldLayoutId id="2147484026" r:id="rId11"/>
    <p:sldLayoutId id="2147484027" r:id="rId12"/>
    <p:sldLayoutId id="2147484028" r:id="rId13"/>
  </p:sldLayoutIdLst>
  <p:hf hdr="0" dt="0"/>
  <p:txStyles>
    <p:titleStyle>
      <a:lvl1pPr algn="l" defTabSz="914290" rtl="0" eaLnBrk="1" latinLnBrk="0" hangingPunct="1">
        <a:spcBef>
          <a:spcPct val="0"/>
        </a:spcBef>
        <a:buNone/>
        <a:defRPr sz="4800" b="0" kern="1200">
          <a:solidFill>
            <a:srgbClr val="124191"/>
          </a:solidFill>
          <a:latin typeface="Nokia Pure Headline" pitchFamily="34" charset="0"/>
          <a:ea typeface="+mj-ea"/>
          <a:cs typeface="+mj-cs"/>
        </a:defRPr>
      </a:lvl1pPr>
    </p:titleStyle>
    <p:bodyStyle>
      <a:lvl1pPr marL="180953" indent="-180953" algn="l" defTabSz="914290" rtl="0" eaLnBrk="1" latinLnBrk="0" hangingPunct="1">
        <a:spcBef>
          <a:spcPts val="600"/>
        </a:spcBef>
        <a:buFont typeface="Arial" pitchFamily="34" charset="0"/>
        <a:buChar char="•"/>
        <a:defRPr sz="2400" kern="1200">
          <a:solidFill>
            <a:srgbClr val="646464"/>
          </a:solidFill>
          <a:latin typeface="Nokia Pure Text" pitchFamily="34" charset="0"/>
          <a:ea typeface="+mn-ea"/>
          <a:cs typeface="+mn-cs"/>
        </a:defRPr>
      </a:lvl1pPr>
      <a:lvl2pPr marL="626988" indent="-182541" algn="l" defTabSz="914290" rtl="0" eaLnBrk="1" latinLnBrk="0" hangingPunct="1">
        <a:spcBef>
          <a:spcPts val="0"/>
        </a:spcBef>
        <a:buFont typeface="Arial" pitchFamily="34" charset="0"/>
        <a:buChar char="•"/>
        <a:defRPr sz="2200" kern="1200">
          <a:solidFill>
            <a:srgbClr val="646464"/>
          </a:solidFill>
          <a:latin typeface="Nokia Pure Text" pitchFamily="34" charset="0"/>
          <a:ea typeface="+mn-ea"/>
          <a:cs typeface="+mn-cs"/>
        </a:defRPr>
      </a:lvl2pPr>
      <a:lvl3pPr marL="1079370" indent="-165080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rgbClr val="646464"/>
          </a:solidFill>
          <a:latin typeface="Nokia Pure Text" pitchFamily="34" charset="0"/>
          <a:ea typeface="+mn-ea"/>
          <a:cs typeface="+mn-cs"/>
        </a:defRPr>
      </a:lvl3pPr>
      <a:lvl4pPr marL="1523817" indent="-152382" algn="l" defTabSz="91429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rgbClr val="646464"/>
          </a:solidFill>
          <a:latin typeface="Nokia Pure Text" pitchFamily="34" charset="0"/>
          <a:ea typeface="+mn-ea"/>
          <a:cs typeface="+mn-cs"/>
        </a:defRPr>
      </a:lvl4pPr>
      <a:lvl5pPr marL="1976200" indent="-147620" algn="l" defTabSz="91429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646464"/>
          </a:solidFill>
          <a:latin typeface="Nokia Pure Text" pitchFamily="34" charset="0"/>
          <a:ea typeface="+mn-ea"/>
          <a:cs typeface="+mn-cs"/>
        </a:defRPr>
      </a:lvl5pPr>
      <a:lvl6pPr marL="2514298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646464"/>
          </a:solidFill>
          <a:latin typeface="Nokia Pure Text" pitchFamily="34" charset="0"/>
          <a:ea typeface="+mn-ea"/>
          <a:cs typeface="+mn-cs"/>
        </a:defRPr>
      </a:lvl6pPr>
      <a:lvl7pPr marL="2971444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1400" kern="1200" baseline="0">
          <a:solidFill>
            <a:srgbClr val="646464"/>
          </a:solidFill>
          <a:latin typeface="Nokia Pure Text" pitchFamily="34" charset="0"/>
          <a:ea typeface="+mn-ea"/>
          <a:cs typeface="+mn-cs"/>
        </a:defRPr>
      </a:lvl7pPr>
      <a:lvl8pPr marL="3428589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1400" kern="1200" baseline="0">
          <a:solidFill>
            <a:srgbClr val="646464"/>
          </a:solidFill>
          <a:latin typeface="Nokia Pure Text" pitchFamily="34" charset="0"/>
          <a:ea typeface="+mn-ea"/>
          <a:cs typeface="+mn-cs"/>
        </a:defRPr>
      </a:lvl8pPr>
      <a:lvl9pPr marL="3885734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1400" kern="1200" baseline="0">
          <a:solidFill>
            <a:srgbClr val="646464"/>
          </a:solidFill>
          <a:latin typeface="Nokia Pure Text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E3EEEB3-758B-40FD-A231-0EB5D4499A60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6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6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D7B4A2C2-4709-4135-8F94-E0AF8897F3E4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fc" descr="Company Confidential"/>
          <p:cNvSpPr txBox="1"/>
          <p:nvPr userDrawn="1"/>
        </p:nvSpPr>
        <p:spPr>
          <a:xfrm>
            <a:off x="0" y="6642100"/>
            <a:ext cx="9144000" cy="246221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771865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9985" y="66"/>
            <a:ext cx="8804031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4" rIns="91430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80" y="1128713"/>
            <a:ext cx="8805497" cy="497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Nokia PowerPoint 2008 Template, A4 </a:t>
            </a:r>
            <a:br>
              <a:rPr lang="en-US" smtClean="0"/>
            </a:br>
            <a:r>
              <a:rPr lang="en-US" smtClean="0"/>
              <a:t>Title font: Nokia Large bold 32 pt</a:t>
            </a:r>
            <a:br>
              <a:rPr lang="en-US" smtClean="0"/>
            </a:br>
            <a:r>
              <a:rPr lang="en-US" smtClean="0"/>
              <a:t>Copy font: Nokia Sans Wide 20 pt (regular, bold or italic)</a:t>
            </a:r>
          </a:p>
          <a:p>
            <a:pPr lvl="0"/>
            <a:r>
              <a:rPr lang="en-US" smtClean="0"/>
              <a:t>1st Level Bullet</a:t>
            </a:r>
          </a:p>
          <a:p>
            <a:pPr lvl="1"/>
            <a:r>
              <a:rPr lang="en-US" smtClean="0"/>
              <a:t>2nd Level Bullet (size: 18 pt)</a:t>
            </a:r>
          </a:p>
          <a:p>
            <a:pPr lvl="2"/>
            <a:r>
              <a:rPr lang="en-US" smtClean="0"/>
              <a:t>3rd Level Bullet (size: 16 pt)</a:t>
            </a:r>
          </a:p>
          <a:p>
            <a:pPr lvl="3"/>
            <a:r>
              <a:rPr lang="en-US" smtClean="0"/>
              <a:t>4th Level Bullet (size: 14 pt)</a:t>
            </a:r>
          </a:p>
          <a:p>
            <a:pPr lvl="0"/>
            <a:r>
              <a:rPr lang="en-US" smtClean="0"/>
              <a:t>Footer (font: Nokia Sans Wide, 8 pt):</a:t>
            </a:r>
            <a:br>
              <a:rPr lang="en-US" smtClean="0"/>
            </a:br>
            <a:r>
              <a:rPr lang="en-US" smtClean="0"/>
              <a:t>“©2008 Nokia   V1 Filename .ppt / yyyy-mm-dd / Initials” is set via “Insert” menu / “Slide number”– NOT via SLIDE MASTER</a:t>
            </a:r>
          </a:p>
          <a:p>
            <a:pPr lvl="0"/>
            <a:r>
              <a:rPr lang="en-US" smtClean="0"/>
              <a:t>Nokia PowerPoint presentations should always be marked with the appropriate level of confidentiality: Company Confidential (default), Confidential or Secret. More info from Corporate Security web.</a:t>
            </a:r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5559" y="6524625"/>
            <a:ext cx="3909646" cy="1920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0000"/>
              </a:lnSpc>
              <a:defRPr sz="800" noProof="1"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  <a:latin typeface="Nokia Sans Wide" pitchFamily="34" charset="0"/>
              </a:rPr>
              <a:t>© 2008  Nokia 	 V1-Filename.ppt / YYYY-MM-DD / Initials</a:t>
            </a:r>
          </a:p>
        </p:txBody>
      </p:sp>
      <p:sp>
        <p:nvSpPr>
          <p:cNvPr id="109573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2054" name="Group 11"/>
          <p:cNvGrpSpPr>
            <a:grpSpLocks/>
          </p:cNvGrpSpPr>
          <p:nvPr/>
        </p:nvGrpSpPr>
        <p:grpSpPr bwMode="auto">
          <a:xfrm>
            <a:off x="7529156" y="6300926"/>
            <a:ext cx="1355481" cy="366713"/>
            <a:chOff x="5138" y="3969"/>
            <a:chExt cx="925" cy="231"/>
          </a:xfrm>
        </p:grpSpPr>
        <p:pic>
          <p:nvPicPr>
            <p:cNvPr id="2056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" y="4025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577" name="Rectangle 9"/>
            <p:cNvSpPr>
              <a:spLocks noChangeArrowheads="1"/>
            </p:cNvSpPr>
            <p:nvPr userDrawn="1"/>
          </p:nvSpPr>
          <p:spPr bwMode="auto">
            <a:xfrm>
              <a:off x="5138" y="3969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4123" y="6518275"/>
            <a:ext cx="344366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spcAft>
                <a:spcPct val="0"/>
              </a:spcAft>
              <a:buClrTx/>
              <a:defRPr sz="800"/>
            </a:lvl1pPr>
          </a:lstStyle>
          <a:p>
            <a:pPr>
              <a:defRPr/>
            </a:pPr>
            <a:fld id="{4647AA11-A057-4090-A2E7-774E3836CBB1}" type="slidenum">
              <a:rPr lang="en-US">
                <a:solidFill>
                  <a:srgbClr val="000000"/>
                </a:solidFill>
                <a:latin typeface="Nokia Sans Wide" pitchFamily="34" charset="0"/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410449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transition>
    <p:wipe dir="d"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5pPr>
      <a:lvl6pPr marL="45714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6pPr>
      <a:lvl7pPr marL="91429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7pPr>
      <a:lvl8pPr marL="137143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8pPr>
      <a:lvl9pPr marL="182858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9pPr>
    </p:titleStyle>
    <p:bodyStyle>
      <a:lvl1pPr marL="192065" indent="-192065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66670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2pPr>
      <a:lvl3pPr marL="1147625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712708" indent="-185716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4pPr>
      <a:lvl5pPr marL="219366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5pPr>
      <a:lvl6pPr marL="265080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3107952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356509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4022243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9985" y="50"/>
            <a:ext cx="8804031" cy="1128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30" tIns="45714" rIns="91430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80" y="1128713"/>
            <a:ext cx="8805497" cy="4972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Nokia PowerPoint 2008 Template, A4 </a:t>
            </a:r>
            <a:br>
              <a:rPr lang="en-US" smtClean="0"/>
            </a:br>
            <a:r>
              <a:rPr lang="en-US" smtClean="0"/>
              <a:t>Title font: Nokia Large bold 32 pt</a:t>
            </a:r>
            <a:br>
              <a:rPr lang="en-US" smtClean="0"/>
            </a:br>
            <a:r>
              <a:rPr lang="en-US" smtClean="0"/>
              <a:t>Copy font: Nokia Sans Wide 20 pt (regular, bold or italic)</a:t>
            </a:r>
          </a:p>
          <a:p>
            <a:pPr lvl="0"/>
            <a:r>
              <a:rPr lang="en-US" smtClean="0"/>
              <a:t>1st Level Bullet</a:t>
            </a:r>
          </a:p>
          <a:p>
            <a:pPr lvl="1"/>
            <a:r>
              <a:rPr lang="en-US" smtClean="0"/>
              <a:t>2nd Level Bullet (size: 18 pt)</a:t>
            </a:r>
          </a:p>
          <a:p>
            <a:pPr lvl="2"/>
            <a:r>
              <a:rPr lang="en-US" smtClean="0"/>
              <a:t>3rd Level Bullet (size: 16 pt)</a:t>
            </a:r>
          </a:p>
          <a:p>
            <a:pPr lvl="3"/>
            <a:r>
              <a:rPr lang="en-US" smtClean="0"/>
              <a:t>4th Level Bullet (size: 14 pt)</a:t>
            </a:r>
          </a:p>
          <a:p>
            <a:pPr lvl="0"/>
            <a:r>
              <a:rPr lang="en-US" smtClean="0"/>
              <a:t>Footer (font: Nokia Sans Wide, 8 pt):</a:t>
            </a:r>
            <a:br>
              <a:rPr lang="en-US" smtClean="0"/>
            </a:br>
            <a:r>
              <a:rPr lang="en-US" smtClean="0"/>
              <a:t>“©2008 Nokia   V1 Filename .ppt / yyyy-mm-dd / Initials” is set via “Insert” menu / “Slide number”– NOT via SLIDE MASTER</a:t>
            </a:r>
          </a:p>
          <a:p>
            <a:pPr lvl="0"/>
            <a:r>
              <a:rPr lang="en-US" smtClean="0"/>
              <a:t>Nokia PowerPoint presentations should always be marked with the appropriate level of confidentiality: Company Confidential (default), Confidential or Secret. More info from Corporate Security web.</a:t>
            </a:r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5559" y="6524625"/>
            <a:ext cx="3909646" cy="1920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 sz="800" noProof="1"/>
            </a:lvl1pPr>
          </a:lstStyle>
          <a:p>
            <a:pPr eaLnBrk="0" hangingPunct="0"/>
            <a:r>
              <a:rPr lang="en-US">
                <a:solidFill>
                  <a:srgbClr val="000000"/>
                </a:solidFill>
                <a:latin typeface="Nokia Sans Wide" pitchFamily="34" charset="0"/>
              </a:rPr>
              <a:t>© 2008  Nokia 	 V1-Filename.ppt / YYYY-MM-DD / Initials</a:t>
            </a:r>
          </a:p>
        </p:txBody>
      </p:sp>
      <p:sp>
        <p:nvSpPr>
          <p:cNvPr id="109573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1030" name="Group 11"/>
          <p:cNvGrpSpPr>
            <a:grpSpLocks/>
          </p:cNvGrpSpPr>
          <p:nvPr/>
        </p:nvGrpSpPr>
        <p:grpSpPr bwMode="auto">
          <a:xfrm>
            <a:off x="7529156" y="6300907"/>
            <a:ext cx="1355481" cy="366713"/>
            <a:chOff x="5138" y="3969"/>
            <a:chExt cx="925" cy="231"/>
          </a:xfrm>
        </p:grpSpPr>
        <p:pic>
          <p:nvPicPr>
            <p:cNvPr id="1032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5314" y="4025"/>
              <a:ext cx="749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9577" name="Rectangle 9"/>
            <p:cNvSpPr>
              <a:spLocks noChangeArrowheads="1"/>
            </p:cNvSpPr>
            <p:nvPr userDrawn="1"/>
          </p:nvSpPr>
          <p:spPr bwMode="auto">
            <a:xfrm>
              <a:off x="5138" y="3969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4123" y="6518275"/>
            <a:ext cx="344366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spcAft>
                <a:spcPct val="0"/>
              </a:spcAft>
              <a:buClrTx/>
              <a:defRPr sz="800" smtClean="0"/>
            </a:lvl1pPr>
          </a:lstStyle>
          <a:p>
            <a:pPr eaLnBrk="0" hangingPunct="0">
              <a:defRPr/>
            </a:pPr>
            <a:fld id="{EF47019C-2744-4B74-800D-CA5BBA7E4929}" type="slidenum">
              <a:rPr lang="en-US">
                <a:solidFill>
                  <a:srgbClr val="000000"/>
                </a:solidFill>
                <a:latin typeface="Nokia Sans Wide" pitchFamily="34" charset="0"/>
              </a:rPr>
              <a:pPr eaLnBrk="0" hangingPunct="0">
                <a:defRPr/>
              </a:pPr>
              <a:t>‹#›</a:t>
            </a:fld>
            <a:endParaRPr lang="en-US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23439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ransition>
    <p:wipe dir="d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8pPr>
      <a:lvl9pPr marL="182858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9pPr>
    </p:titleStyle>
    <p:bodyStyle>
      <a:lvl1pPr marL="192065" indent="-192065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66670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2pPr>
      <a:lvl3pPr marL="1147625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712708" indent="-185716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4pPr>
      <a:lvl5pPr marL="219366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5pPr>
      <a:lvl6pPr marL="2650807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3107952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3565097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402224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9985" y="39"/>
            <a:ext cx="8804031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4" rIns="91430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80" y="1128713"/>
            <a:ext cx="8805497" cy="497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Nokia PowerPoint 2008 Template, A4 </a:t>
            </a:r>
            <a:br>
              <a:rPr lang="en-US" smtClean="0"/>
            </a:br>
            <a:r>
              <a:rPr lang="en-US" smtClean="0"/>
              <a:t>Title font: Nokia Large bold 32 pt</a:t>
            </a:r>
            <a:br>
              <a:rPr lang="en-US" smtClean="0"/>
            </a:br>
            <a:r>
              <a:rPr lang="en-US" smtClean="0"/>
              <a:t>Copy font: Nokia Sans Wide 20 pt (regular, bold or italic)</a:t>
            </a:r>
          </a:p>
          <a:p>
            <a:pPr lvl="0"/>
            <a:r>
              <a:rPr lang="en-US" smtClean="0"/>
              <a:t>1st Level Bullet</a:t>
            </a:r>
          </a:p>
          <a:p>
            <a:pPr lvl="1"/>
            <a:r>
              <a:rPr lang="en-US" smtClean="0"/>
              <a:t>2nd Level Bullet (size: 18 pt)</a:t>
            </a:r>
          </a:p>
          <a:p>
            <a:pPr lvl="2"/>
            <a:r>
              <a:rPr lang="en-US" smtClean="0"/>
              <a:t>3rd Level Bullet (size: 16 pt)</a:t>
            </a:r>
          </a:p>
          <a:p>
            <a:pPr lvl="3"/>
            <a:r>
              <a:rPr lang="en-US" smtClean="0"/>
              <a:t>4th Level Bullet (size: 14 pt)</a:t>
            </a:r>
          </a:p>
          <a:p>
            <a:pPr lvl="0"/>
            <a:r>
              <a:rPr lang="en-US" smtClean="0"/>
              <a:t>Footer (font: Nokia Sans Wide, 8 pt):</a:t>
            </a:r>
            <a:br>
              <a:rPr lang="en-US" smtClean="0"/>
            </a:br>
            <a:r>
              <a:rPr lang="en-US" smtClean="0"/>
              <a:t>“©2008 Nokia   V1 Filename .ppt / yyyy-mm-dd / Initials” is set via “Insert” menu / “Slide number”– NOT via SLIDE MASTER</a:t>
            </a:r>
          </a:p>
          <a:p>
            <a:pPr lvl="0"/>
            <a:r>
              <a:rPr lang="en-US" smtClean="0"/>
              <a:t>Nokia PowerPoint presentations should always be marked with the appropriate level of confidentiality: Company Confidential (default), Confidential or Secret. More info from Corporate Security web.</a:t>
            </a:r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5559" y="6524625"/>
            <a:ext cx="3909646" cy="1920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0000"/>
              </a:lnSpc>
              <a:defRPr sz="800" noProof="1"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  <a:latin typeface="Nokia Sans Wide" pitchFamily="34" charset="0"/>
              </a:rPr>
              <a:t>© 2008  Nokia 	 V1-Filename.ppt / YYYY-MM-DD / Initials</a:t>
            </a:r>
          </a:p>
        </p:txBody>
      </p:sp>
      <p:sp>
        <p:nvSpPr>
          <p:cNvPr id="109573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2054" name="Group 11"/>
          <p:cNvGrpSpPr>
            <a:grpSpLocks/>
          </p:cNvGrpSpPr>
          <p:nvPr/>
        </p:nvGrpSpPr>
        <p:grpSpPr bwMode="auto">
          <a:xfrm>
            <a:off x="7529156" y="6300899"/>
            <a:ext cx="1355481" cy="366713"/>
            <a:chOff x="5138" y="3969"/>
            <a:chExt cx="925" cy="231"/>
          </a:xfrm>
        </p:grpSpPr>
        <p:pic>
          <p:nvPicPr>
            <p:cNvPr id="2056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" y="4025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577" name="Rectangle 9"/>
            <p:cNvSpPr>
              <a:spLocks noChangeArrowheads="1"/>
            </p:cNvSpPr>
            <p:nvPr userDrawn="1"/>
          </p:nvSpPr>
          <p:spPr bwMode="auto">
            <a:xfrm>
              <a:off x="5138" y="3969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4123" y="6518275"/>
            <a:ext cx="344366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spcAft>
                <a:spcPct val="0"/>
              </a:spcAft>
              <a:buClrTx/>
              <a:defRPr sz="800"/>
            </a:lvl1pPr>
          </a:lstStyle>
          <a:p>
            <a:pPr>
              <a:defRPr/>
            </a:pPr>
            <a:fld id="{4647AA11-A057-4090-A2E7-774E3836CBB1}" type="slidenum">
              <a:rPr lang="en-US">
                <a:solidFill>
                  <a:srgbClr val="000000"/>
                </a:solidFill>
                <a:latin typeface="Nokia Sans Wide" pitchFamily="34" charset="0"/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37121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</p:sldLayoutIdLst>
  <p:transition>
    <p:wipe dir="d"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5pPr>
      <a:lvl6pPr marL="45714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6pPr>
      <a:lvl7pPr marL="91429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7pPr>
      <a:lvl8pPr marL="137143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8pPr>
      <a:lvl9pPr marL="182858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9pPr>
    </p:titleStyle>
    <p:bodyStyle>
      <a:lvl1pPr marL="192065" indent="-192065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66670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2pPr>
      <a:lvl3pPr marL="1147625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712708" indent="-185716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4pPr>
      <a:lvl5pPr marL="219366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5pPr>
      <a:lvl6pPr marL="265080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3107952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356509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4022243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9985" y="39"/>
            <a:ext cx="8804031" cy="112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4" rIns="91430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80" y="1128713"/>
            <a:ext cx="8805497" cy="497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Nokia PowerPoint 2008 Template, A4 </a:t>
            </a:r>
            <a:br>
              <a:rPr lang="en-US" smtClean="0"/>
            </a:br>
            <a:r>
              <a:rPr lang="en-US" smtClean="0"/>
              <a:t>Title font: Nokia Large bold 32 pt</a:t>
            </a:r>
            <a:br>
              <a:rPr lang="en-US" smtClean="0"/>
            </a:br>
            <a:r>
              <a:rPr lang="en-US" smtClean="0"/>
              <a:t>Copy font: Nokia Sans Wide 20 pt (regular, bold or italic)</a:t>
            </a:r>
          </a:p>
          <a:p>
            <a:pPr lvl="0"/>
            <a:r>
              <a:rPr lang="en-US" smtClean="0"/>
              <a:t>1st Level Bullet</a:t>
            </a:r>
          </a:p>
          <a:p>
            <a:pPr lvl="1"/>
            <a:r>
              <a:rPr lang="en-US" smtClean="0"/>
              <a:t>2nd Level Bullet (size: 18 pt)</a:t>
            </a:r>
          </a:p>
          <a:p>
            <a:pPr lvl="2"/>
            <a:r>
              <a:rPr lang="en-US" smtClean="0"/>
              <a:t>3rd Level Bullet (size: 16 pt)</a:t>
            </a:r>
          </a:p>
          <a:p>
            <a:pPr lvl="3"/>
            <a:r>
              <a:rPr lang="en-US" smtClean="0"/>
              <a:t>4th Level Bullet (size: 14 pt)</a:t>
            </a:r>
          </a:p>
          <a:p>
            <a:pPr lvl="0"/>
            <a:r>
              <a:rPr lang="en-US" smtClean="0"/>
              <a:t>Footer (font: Nokia Sans Wide, 8 pt):</a:t>
            </a:r>
            <a:br>
              <a:rPr lang="en-US" smtClean="0"/>
            </a:br>
            <a:r>
              <a:rPr lang="en-US" smtClean="0"/>
              <a:t>“©2008 Nokia   V1 Filename .ppt / yyyy-mm-dd / Initials” is set via “Insert” menu / “Slide number”– NOT via SLIDE MASTER</a:t>
            </a:r>
          </a:p>
          <a:p>
            <a:pPr lvl="0"/>
            <a:r>
              <a:rPr lang="en-US" smtClean="0"/>
              <a:t>Nokia PowerPoint presentations should always be marked with the appropriate level of confidentiality: Company Confidential (default), Confidential or Secret. More info from Corporate Security web.</a:t>
            </a:r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5559" y="6524625"/>
            <a:ext cx="3909646" cy="1920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0000"/>
              </a:lnSpc>
              <a:defRPr sz="800" noProof="1"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  <a:latin typeface="Nokia Sans Wide" pitchFamily="34" charset="0"/>
              </a:rPr>
              <a:t>© 2008  Nokia 	 V1-Filename.ppt / YYYY-MM-DD / Initials</a:t>
            </a:r>
          </a:p>
        </p:txBody>
      </p:sp>
      <p:sp>
        <p:nvSpPr>
          <p:cNvPr id="109573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2054" name="Group 11"/>
          <p:cNvGrpSpPr>
            <a:grpSpLocks/>
          </p:cNvGrpSpPr>
          <p:nvPr/>
        </p:nvGrpSpPr>
        <p:grpSpPr bwMode="auto">
          <a:xfrm>
            <a:off x="7529156" y="6300887"/>
            <a:ext cx="1355481" cy="366713"/>
            <a:chOff x="5138" y="3969"/>
            <a:chExt cx="925" cy="231"/>
          </a:xfrm>
        </p:grpSpPr>
        <p:pic>
          <p:nvPicPr>
            <p:cNvPr id="2056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14" y="4025"/>
              <a:ext cx="749" cy="1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9577" name="Rectangle 9"/>
            <p:cNvSpPr>
              <a:spLocks noChangeArrowheads="1"/>
            </p:cNvSpPr>
            <p:nvPr userDrawn="1"/>
          </p:nvSpPr>
          <p:spPr bwMode="auto">
            <a:xfrm>
              <a:off x="5138" y="3969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4123" y="6518275"/>
            <a:ext cx="344366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0"/>
              </a:spcBef>
              <a:spcAft>
                <a:spcPct val="0"/>
              </a:spcAft>
              <a:buClrTx/>
              <a:defRPr sz="800"/>
            </a:lvl1pPr>
          </a:lstStyle>
          <a:p>
            <a:pPr>
              <a:defRPr/>
            </a:pPr>
            <a:fld id="{4647AA11-A057-4090-A2E7-774E3836CBB1}" type="slidenum">
              <a:rPr lang="en-US">
                <a:solidFill>
                  <a:srgbClr val="000000"/>
                </a:solidFill>
                <a:latin typeface="Nokia Sans Wide" pitchFamily="34" charset="0"/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785635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</p:sldLayoutIdLst>
  <p:transition>
    <p:wipe dir="d"/>
  </p:transition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5pPr>
      <a:lvl6pPr marL="45714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6pPr>
      <a:lvl7pPr marL="91429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7pPr>
      <a:lvl8pPr marL="1371435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8pPr>
      <a:lvl9pPr marL="1828580"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9pPr>
    </p:titleStyle>
    <p:bodyStyle>
      <a:lvl1pPr marL="192065" indent="-192065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66670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2pPr>
      <a:lvl3pPr marL="1147625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712708" indent="-185716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4pPr>
      <a:lvl5pPr marL="219366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5pPr>
      <a:lvl6pPr marL="265080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3107952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3565097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4022243" indent="-188890" algn="l" defTabSz="761908" rtl="0" eaLnBrk="1" fontAlgn="base" hangingPunct="1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69985" y="25"/>
            <a:ext cx="8804031" cy="1128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30" tIns="45714" rIns="91430" bIns="4571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8780" y="1128713"/>
            <a:ext cx="8805497" cy="4972050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Nokia PowerPoint 2008 Template, A4 </a:t>
            </a:r>
            <a:br>
              <a:rPr lang="en-US" smtClean="0"/>
            </a:br>
            <a:r>
              <a:rPr lang="en-US" smtClean="0"/>
              <a:t>Title font: Nokia Large bold 32 pt</a:t>
            </a:r>
            <a:br>
              <a:rPr lang="en-US" smtClean="0"/>
            </a:br>
            <a:r>
              <a:rPr lang="en-US" smtClean="0"/>
              <a:t>Copy font: Nokia Sans Wide 20 pt (regular, bold or italic)</a:t>
            </a:r>
          </a:p>
          <a:p>
            <a:pPr lvl="0"/>
            <a:r>
              <a:rPr lang="en-US" smtClean="0"/>
              <a:t>1st Level Bullet</a:t>
            </a:r>
          </a:p>
          <a:p>
            <a:pPr lvl="1"/>
            <a:r>
              <a:rPr lang="en-US" smtClean="0"/>
              <a:t>2nd Level Bullet (size: 18 pt)</a:t>
            </a:r>
          </a:p>
          <a:p>
            <a:pPr lvl="2"/>
            <a:r>
              <a:rPr lang="en-US" smtClean="0"/>
              <a:t>3rd Level Bullet (size: 16 pt)</a:t>
            </a:r>
          </a:p>
          <a:p>
            <a:pPr lvl="3"/>
            <a:r>
              <a:rPr lang="en-US" smtClean="0"/>
              <a:t>4th Level Bullet (size: 14 pt)</a:t>
            </a:r>
          </a:p>
          <a:p>
            <a:pPr lvl="0"/>
            <a:r>
              <a:rPr lang="en-US" smtClean="0"/>
              <a:t>Footer (font: Nokia Sans Wide, 8 pt):</a:t>
            </a:r>
            <a:br>
              <a:rPr lang="en-US" smtClean="0"/>
            </a:br>
            <a:r>
              <a:rPr lang="en-US" smtClean="0"/>
              <a:t>“©2008 Nokia   V1 Filename .ppt / yyyy-mm-dd / Initials” is set via “Insert” menu / “Slide number”– NOT via SLIDE MASTER</a:t>
            </a:r>
          </a:p>
          <a:p>
            <a:pPr lvl="0"/>
            <a:r>
              <a:rPr lang="en-US" smtClean="0"/>
              <a:t>Nokia PowerPoint presentations should always be marked with the appropriate level of confidentiality: Company Confidential (default), Confidential or Secret. More info from Corporate Security web.</a:t>
            </a:r>
          </a:p>
        </p:txBody>
      </p:sp>
      <p:sp>
        <p:nvSpPr>
          <p:cNvPr id="10957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5559" y="6524625"/>
            <a:ext cx="3909646" cy="192088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 sz="800" noProof="1"/>
            </a:lvl1pPr>
          </a:lstStyle>
          <a:p>
            <a:pPr eaLnBrk="0" hangingPunct="0"/>
            <a:r>
              <a:rPr lang="en-US">
                <a:solidFill>
                  <a:srgbClr val="000000"/>
                </a:solidFill>
                <a:latin typeface="Nokia Sans Wide" pitchFamily="34" charset="0"/>
              </a:rPr>
              <a:t>© 2008  Nokia 	 V1-Filename.ppt / YYYY-MM-DD / Initials</a:t>
            </a:r>
          </a:p>
        </p:txBody>
      </p:sp>
      <p:sp>
        <p:nvSpPr>
          <p:cNvPr id="109573" name="Text Box 5"/>
          <p:cNvSpPr txBox="1">
            <a:spLocks noChangeArrowheads="1"/>
          </p:cNvSpPr>
          <p:nvPr/>
        </p:nvSpPr>
        <p:spPr bwMode="auto">
          <a:xfrm>
            <a:off x="197830" y="6273846"/>
            <a:ext cx="2810608" cy="27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0" tIns="45714" rIns="91430" bIns="45714">
            <a:spAutoFit/>
          </a:bodyPr>
          <a:lstStyle/>
          <a:p>
            <a:pPr>
              <a:defRPr/>
            </a:pPr>
            <a:r>
              <a:rPr lang="en-US" sz="1200">
                <a:solidFill>
                  <a:srgbClr val="000000"/>
                </a:solidFill>
                <a:latin typeface="Nokia Sans Wide" pitchFamily="34" charset="0"/>
              </a:rPr>
              <a:t>Company Confidential</a:t>
            </a:r>
          </a:p>
        </p:txBody>
      </p:sp>
      <p:grpSp>
        <p:nvGrpSpPr>
          <p:cNvPr id="1030" name="Group 11"/>
          <p:cNvGrpSpPr>
            <a:grpSpLocks/>
          </p:cNvGrpSpPr>
          <p:nvPr/>
        </p:nvGrpSpPr>
        <p:grpSpPr bwMode="auto">
          <a:xfrm>
            <a:off x="7529156" y="6300875"/>
            <a:ext cx="1355481" cy="366713"/>
            <a:chOff x="5138" y="3969"/>
            <a:chExt cx="925" cy="231"/>
          </a:xfrm>
        </p:grpSpPr>
        <p:pic>
          <p:nvPicPr>
            <p:cNvPr id="1032" name="Picture 8" descr="Logotype_RGB_33mm300dpi"/>
            <p:cNvPicPr>
              <a:picLocks noChangeAspect="1" noChangeArrowheads="1"/>
            </p:cNvPicPr>
            <p:nvPr userDrawn="1"/>
          </p:nvPicPr>
          <p:blipFill>
            <a:blip r:embed="rId13"/>
            <a:srcRect/>
            <a:stretch>
              <a:fillRect/>
            </a:stretch>
          </p:blipFill>
          <p:spPr bwMode="auto">
            <a:xfrm>
              <a:off x="5314" y="4025"/>
              <a:ext cx="749" cy="1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9577" name="Rectangle 9"/>
            <p:cNvSpPr>
              <a:spLocks noChangeArrowheads="1"/>
            </p:cNvSpPr>
            <p:nvPr userDrawn="1"/>
          </p:nvSpPr>
          <p:spPr bwMode="auto">
            <a:xfrm>
              <a:off x="5138" y="3969"/>
              <a:ext cx="125" cy="231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  <a:effectLst/>
          </p:spPr>
          <p:txBody>
            <a:bodyPr wrap="none" lIns="90488" tIns="44450" rIns="90488" bIns="44450" anchor="ctr">
              <a:spAutoFit/>
            </a:bodyPr>
            <a:lstStyle/>
            <a:p>
              <a:pPr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040477"/>
                </a:buClr>
                <a:defRPr/>
              </a:pPr>
              <a:endParaRPr lang="en-US">
                <a:solidFill>
                  <a:srgbClr val="000000"/>
                </a:solidFill>
                <a:latin typeface="Nokia Sans Wide" pitchFamily="34" charset="0"/>
              </a:endParaRPr>
            </a:p>
          </p:txBody>
        </p:sp>
      </p:grp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4123" y="6518275"/>
            <a:ext cx="344366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spcAft>
                <a:spcPct val="0"/>
              </a:spcAft>
              <a:buClrTx/>
              <a:defRPr sz="800" smtClean="0"/>
            </a:lvl1pPr>
          </a:lstStyle>
          <a:p>
            <a:pPr eaLnBrk="0" hangingPunct="0">
              <a:defRPr/>
            </a:pPr>
            <a:fld id="{EF47019C-2744-4B74-800D-CA5BBA7E4929}" type="slidenum">
              <a:rPr lang="en-US">
                <a:solidFill>
                  <a:srgbClr val="000000"/>
                </a:solidFill>
                <a:latin typeface="Nokia Sans Wide" pitchFamily="34" charset="0"/>
              </a:rPr>
              <a:pPr eaLnBrk="0" hangingPunct="0">
                <a:defRPr/>
              </a:pPr>
              <a:t>‹#›</a:t>
            </a:fld>
            <a:endParaRPr lang="en-US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990918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</p:sldLayoutIdLst>
  <p:transition>
    <p:wipe dir="d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5pPr>
      <a:lvl6pPr marL="457145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6pPr>
      <a:lvl7pPr marL="91429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7pPr>
      <a:lvl8pPr marL="1371435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8pPr>
      <a:lvl9pPr marL="1828580" algn="l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Nokia Large" pitchFamily="34" charset="0"/>
        </a:defRPr>
      </a:lvl9pPr>
    </p:titleStyle>
    <p:bodyStyle>
      <a:lvl1pPr marL="192065" indent="-192065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66670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2pPr>
      <a:lvl3pPr marL="1147625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712708" indent="-185716" algn="l" defTabSz="761908" rtl="0" eaLnBrk="0" fontAlgn="base" hangingPunct="0">
        <a:spcBef>
          <a:spcPct val="15000"/>
        </a:spcBef>
        <a:spcAft>
          <a:spcPct val="15000"/>
        </a:spcAft>
        <a:buClr>
          <a:schemeClr val="tx2"/>
        </a:buClr>
        <a:buChar char="•"/>
        <a:defRPr sz="1400">
          <a:solidFill>
            <a:schemeClr val="tx1"/>
          </a:solidFill>
          <a:latin typeface="+mn-lt"/>
        </a:defRPr>
      </a:lvl4pPr>
      <a:lvl5pPr marL="219366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5pPr>
      <a:lvl6pPr marL="2650807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6pPr>
      <a:lvl7pPr marL="3107952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7pPr>
      <a:lvl8pPr marL="3565097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8pPr>
      <a:lvl9pPr marL="402224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accent1"/>
        </a:buClr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9414" y="67762"/>
            <a:ext cx="8785225" cy="10562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0" tIns="45714" rIns="91430" bIns="45714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79414" y="1123951"/>
            <a:ext cx="8785225" cy="461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9580" name="Rectangle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3518" y="6447367"/>
            <a:ext cx="344487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30" tIns="45714" rIns="91430" bIns="45714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spcAft>
                <a:spcPct val="0"/>
              </a:spcAft>
              <a:buClrTx/>
              <a:defRPr sz="800">
                <a:solidFill>
                  <a:schemeClr val="bg1"/>
                </a:solidFill>
                <a:ea typeface="ＭＳ Ｐゴシック" pitchFamily="-112" charset="-128"/>
              </a:defRPr>
            </a:lvl1pPr>
          </a:lstStyle>
          <a:p>
            <a:pPr eaLnBrk="0" hangingPunct="0">
              <a:defRPr/>
            </a:pPr>
            <a:fld id="{9429EAD0-1ED7-4A75-82FF-2E9DF2FA115A}" type="slidenum">
              <a:rPr lang="en-US" smtClean="0">
                <a:solidFill>
                  <a:srgbClr val="FFFFFF"/>
                </a:solidFill>
                <a:latin typeface="Nokia Sans Wide"/>
              </a:rPr>
              <a:pPr eaLnBrk="0" hangingPunct="0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Nokia Sans Wide"/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04837" y="6447412"/>
            <a:ext cx="3910013" cy="25611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77" tIns="44445" rIns="90477" bIns="44445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defRPr sz="800" noProof="1">
                <a:solidFill>
                  <a:schemeClr val="bg1"/>
                </a:solidFill>
                <a:ea typeface="ＭＳ Ｐゴシック" pitchFamily="-112" charset="-128"/>
                <a:cs typeface="Nokia Standard Multiscript" pitchFamily="34" charset="0"/>
              </a:defRPr>
            </a:lvl1pPr>
          </a:lstStyle>
          <a:p>
            <a:pPr eaLnBrk="0" hangingPunct="0">
              <a:defRPr/>
            </a:pPr>
            <a:r>
              <a:rPr lang="en-US" dirty="0" smtClean="0">
                <a:solidFill>
                  <a:srgbClr val="FFFFFF"/>
                </a:solidFill>
                <a:latin typeface="Nokia Sans Wide"/>
              </a:rPr>
              <a:t>Company Confidential. ©2011 Nokia</a:t>
            </a:r>
            <a:endParaRPr lang="en-US" dirty="0">
              <a:solidFill>
                <a:srgbClr val="FFFFFF"/>
              </a:solidFill>
              <a:latin typeface="Nokia Sans Wide"/>
            </a:endParaRPr>
          </a:p>
        </p:txBody>
      </p:sp>
      <p:sp>
        <p:nvSpPr>
          <p:cNvPr id="2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92443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  <p:sldLayoutId id="2147483787" r:id="rId2"/>
  </p:sldLayoutIdLst>
  <p:transition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bg1"/>
          </a:solidFill>
          <a:latin typeface="+mj-lt"/>
          <a:ea typeface="MS PGothic" pitchFamily="34" charset="-128"/>
          <a:cs typeface="ＭＳ Ｐゴシック" pitchFamily="-111" charset="-128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MS PGothic" pitchFamily="34" charset="-128"/>
          <a:cs typeface="ＭＳ Ｐゴシック" pitchFamily="-111" charset="-128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MS PGothic" pitchFamily="34" charset="-128"/>
          <a:cs typeface="ＭＳ Ｐゴシック" pitchFamily="-111" charset="-128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MS PGothic" pitchFamily="34" charset="-128"/>
          <a:cs typeface="ＭＳ Ｐゴシック" pitchFamily="-111" charset="-128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MS PGothic" pitchFamily="34" charset="-128"/>
          <a:cs typeface="ＭＳ Ｐゴシック" pitchFamily="-111" charset="-128"/>
        </a:defRPr>
      </a:lvl5pPr>
      <a:lvl6pPr marL="457145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ＭＳ Ｐゴシック" pitchFamily="34" charset="-128"/>
        </a:defRPr>
      </a:lvl6pPr>
      <a:lvl7pPr marL="91429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ＭＳ Ｐゴシック" pitchFamily="34" charset="-128"/>
        </a:defRPr>
      </a:lvl7pPr>
      <a:lvl8pPr marL="1371435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ＭＳ Ｐゴシック" pitchFamily="34" charset="-128"/>
        </a:defRPr>
      </a:lvl8pPr>
      <a:lvl9pPr marL="1828580"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Nokia Large" pitchFamily="34" charset="0"/>
          <a:ea typeface="ＭＳ Ｐゴシック" pitchFamily="34" charset="-128"/>
        </a:defRPr>
      </a:lvl9pPr>
    </p:titleStyle>
    <p:bodyStyle>
      <a:lvl1pPr marL="192065" indent="-192065" algn="l" defTabSz="761908" rtl="0" eaLnBrk="0" fontAlgn="base" hangingPunct="0">
        <a:spcBef>
          <a:spcPct val="15000"/>
        </a:spcBef>
        <a:spcAft>
          <a:spcPct val="15000"/>
        </a:spcAft>
        <a:buClr>
          <a:schemeClr val="tx2">
            <a:lumMod val="20000"/>
            <a:lumOff val="80000"/>
          </a:schemeClr>
        </a:buClr>
        <a:buChar char="•"/>
        <a:defRPr sz="2000">
          <a:solidFill>
            <a:schemeClr val="bg1"/>
          </a:solidFill>
          <a:latin typeface="+mn-lt"/>
          <a:ea typeface="MS PGothic" pitchFamily="34" charset="-128"/>
          <a:cs typeface="ＭＳ Ｐゴシック" pitchFamily="-111" charset="-128"/>
        </a:defRPr>
      </a:lvl1pPr>
      <a:lvl2pPr marL="666670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>
            <a:lumMod val="20000"/>
            <a:lumOff val="80000"/>
          </a:schemeClr>
        </a:buClr>
        <a:buChar char="•"/>
        <a:defRPr>
          <a:solidFill>
            <a:schemeClr val="bg1"/>
          </a:solidFill>
          <a:latin typeface="+mn-lt"/>
          <a:ea typeface="MS PGothic" pitchFamily="34" charset="-128"/>
        </a:defRPr>
      </a:lvl2pPr>
      <a:lvl3pPr marL="1147625" indent="-195239" algn="l" defTabSz="761908" rtl="0" eaLnBrk="0" fontAlgn="base" hangingPunct="0">
        <a:spcBef>
          <a:spcPct val="15000"/>
        </a:spcBef>
        <a:spcAft>
          <a:spcPct val="15000"/>
        </a:spcAft>
        <a:buClr>
          <a:schemeClr val="tx2">
            <a:lumMod val="20000"/>
            <a:lumOff val="80000"/>
          </a:schemeClr>
        </a:buClr>
        <a:buChar char="•"/>
        <a:defRPr sz="1600">
          <a:solidFill>
            <a:schemeClr val="bg1"/>
          </a:solidFill>
          <a:latin typeface="+mn-lt"/>
          <a:ea typeface="MS PGothic" pitchFamily="34" charset="-128"/>
        </a:defRPr>
      </a:lvl3pPr>
      <a:lvl4pPr marL="1712708" indent="-185716" algn="l" defTabSz="761908" rtl="0" eaLnBrk="0" fontAlgn="base" hangingPunct="0">
        <a:spcBef>
          <a:spcPct val="15000"/>
        </a:spcBef>
        <a:spcAft>
          <a:spcPct val="15000"/>
        </a:spcAft>
        <a:buClr>
          <a:schemeClr val="tx2">
            <a:lumMod val="20000"/>
            <a:lumOff val="80000"/>
          </a:schemeClr>
        </a:buClr>
        <a:buChar char="•"/>
        <a:defRPr sz="1400">
          <a:solidFill>
            <a:schemeClr val="bg1"/>
          </a:solidFill>
          <a:latin typeface="+mn-lt"/>
          <a:ea typeface="MS PGothic" pitchFamily="34" charset="-128"/>
        </a:defRPr>
      </a:lvl4pPr>
      <a:lvl5pPr marL="2193663" indent="-188890" algn="l" defTabSz="761908" rtl="0" eaLnBrk="0" fontAlgn="base" hangingPunct="0">
        <a:spcBef>
          <a:spcPct val="15000"/>
        </a:spcBef>
        <a:spcAft>
          <a:spcPct val="15000"/>
        </a:spcAft>
        <a:buClr>
          <a:schemeClr val="tx2">
            <a:lumMod val="20000"/>
            <a:lumOff val="80000"/>
          </a:schemeClr>
        </a:buClr>
        <a:buChar char="•"/>
        <a:defRPr>
          <a:solidFill>
            <a:schemeClr val="bg1"/>
          </a:solidFill>
          <a:latin typeface="+mn-lt"/>
          <a:ea typeface="MS PGothic" pitchFamily="34" charset="-128"/>
        </a:defRPr>
      </a:lvl5pPr>
      <a:lvl6pPr marL="2650807" indent="-188890" algn="l" defTabSz="761908" rtl="0" eaLnBrk="0" fontAlgn="base" hangingPunct="0">
        <a:spcBef>
          <a:spcPct val="15000"/>
        </a:spcBef>
        <a:spcAft>
          <a:spcPct val="15000"/>
        </a:spcAft>
        <a:buClr>
          <a:srgbClr val="0033CC"/>
        </a:buClr>
        <a:buChar char="•"/>
        <a:defRPr>
          <a:solidFill>
            <a:schemeClr val="tx1"/>
          </a:solidFill>
          <a:latin typeface="+mn-lt"/>
          <a:ea typeface="+mn-ea"/>
        </a:defRPr>
      </a:lvl6pPr>
      <a:lvl7pPr marL="3107952" indent="-188890" algn="l" defTabSz="761908" rtl="0" eaLnBrk="0" fontAlgn="base" hangingPunct="0">
        <a:spcBef>
          <a:spcPct val="15000"/>
        </a:spcBef>
        <a:spcAft>
          <a:spcPct val="15000"/>
        </a:spcAft>
        <a:buClr>
          <a:srgbClr val="0033CC"/>
        </a:buClr>
        <a:buChar char="•"/>
        <a:defRPr>
          <a:solidFill>
            <a:schemeClr val="tx1"/>
          </a:solidFill>
          <a:latin typeface="+mn-lt"/>
          <a:ea typeface="+mn-ea"/>
        </a:defRPr>
      </a:lvl7pPr>
      <a:lvl8pPr marL="3565097" indent="-188890" algn="l" defTabSz="761908" rtl="0" eaLnBrk="0" fontAlgn="base" hangingPunct="0">
        <a:spcBef>
          <a:spcPct val="15000"/>
        </a:spcBef>
        <a:spcAft>
          <a:spcPct val="15000"/>
        </a:spcAft>
        <a:buClr>
          <a:srgbClr val="0033CC"/>
        </a:buClr>
        <a:buChar char="•"/>
        <a:defRPr>
          <a:solidFill>
            <a:schemeClr val="tx1"/>
          </a:solidFill>
          <a:latin typeface="+mn-lt"/>
          <a:ea typeface="+mn-ea"/>
        </a:defRPr>
      </a:lvl8pPr>
      <a:lvl9pPr marL="4022243" indent="-188890" algn="l" defTabSz="761908" rtl="0" eaLnBrk="0" fontAlgn="base" hangingPunct="0">
        <a:spcBef>
          <a:spcPct val="15000"/>
        </a:spcBef>
        <a:spcAft>
          <a:spcPct val="15000"/>
        </a:spcAft>
        <a:buClr>
          <a:srgbClr val="0033CC"/>
        </a:buClr>
        <a:buChar char="•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30" tIns="45714" rIns="91430" bIns="45714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16"/>
            <a:ext cx="8229600" cy="4525963"/>
          </a:xfrm>
          <a:prstGeom prst="rect">
            <a:avLst/>
          </a:prstGeom>
        </p:spPr>
        <p:txBody>
          <a:bodyPr vert="horz" lIns="91430" tIns="45714" rIns="91430" bIns="4571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7278"/>
            <a:ext cx="2133600" cy="36512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CD646345-0F8C-41F5-8141-06C95168725B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10/14/2011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2" y="6357278"/>
            <a:ext cx="2895600" cy="36512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7278"/>
            <a:ext cx="2133600" cy="365125"/>
          </a:xfrm>
          <a:prstGeom prst="rect">
            <a:avLst/>
          </a:prstGeom>
        </p:spPr>
        <p:txBody>
          <a:bodyPr vert="horz" lIns="91430" tIns="45714" rIns="91430" bIns="4571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7FBD958-3E5E-48AF-B61A-18E3B55ECA2C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fc" descr="Company Confidential"/>
          <p:cNvSpPr txBox="1"/>
          <p:nvPr/>
        </p:nvSpPr>
        <p:spPr>
          <a:xfrm>
            <a:off x="0" y="6642100"/>
            <a:ext cx="9144000" cy="246209"/>
          </a:xfrm>
          <a:prstGeom prst="rect">
            <a:avLst/>
          </a:prstGeom>
          <a:noFill/>
        </p:spPr>
        <p:txBody>
          <a:bodyPr vert="horz" lIns="91430" tIns="45714" rIns="91430" bIns="45714" rtlCol="0">
            <a:spAutoFit/>
          </a:bodyPr>
          <a:lstStyle/>
          <a:p>
            <a:pPr algn="ctr"/>
            <a:r>
              <a:rPr lang="en-US" sz="1000" b="1" i="0" u="none" baseline="0" smtClean="0">
                <a:solidFill>
                  <a:srgbClr val="3E8430"/>
                </a:solidFill>
                <a:latin typeface="arial"/>
              </a:rPr>
              <a:t>Company Confidential</a:t>
            </a:r>
            <a:endParaRPr lang="en-US" sz="1000" b="1" i="0" u="none" baseline="0">
              <a:solidFill>
                <a:srgbClr val="3E843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3086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</p:sldLayoutIdLst>
  <p:txStyles>
    <p:titleStyle>
      <a:lvl1pPr algn="ctr" defTabSz="91429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59" indent="-342859" algn="l" defTabSz="91429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62" indent="-285716" algn="l" defTabSz="91429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63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08" indent="-228572" algn="l" defTabSz="91429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52" indent="-228572" algn="l" defTabSz="91429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298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44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89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34" indent="-228572" algn="l" defTabSz="91429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2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gi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6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gif"/><Relationship Id="rId3" Type="http://schemas.openxmlformats.org/officeDocument/2006/relationships/image" Target="../media/image18.gif"/><Relationship Id="rId7" Type="http://schemas.openxmlformats.org/officeDocument/2006/relationships/image" Target="../media/image22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65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Picture 2" descr="http://www.apbusinesscontacts.com/images/uploads/412technology.jp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 xmlns="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-46520"/>
            <a:ext cx="9144000" cy="6942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4710146" y="1455194"/>
            <a:ext cx="134776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Sales : </a:t>
            </a:r>
          </a:p>
          <a:p>
            <a:pPr algn="ctr"/>
            <a:r>
              <a:rPr lang="en-US" sz="1400" dirty="0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42.4 Billion US</a:t>
            </a:r>
            <a:r>
              <a:rPr lang="en-US" sz="1400" dirty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$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286000" y="-46520"/>
            <a:ext cx="5230348" cy="523220"/>
          </a:xfrm>
          <a:prstGeom prst="rect">
            <a:avLst/>
          </a:prstGeom>
          <a:noFill/>
          <a:effectLst>
            <a:glow rad="101600">
              <a:schemeClr val="bg1">
                <a:alpha val="60000"/>
              </a:schemeClr>
            </a:glow>
          </a:effectLst>
          <a:scene3d>
            <a:camera prst="orthographicFront"/>
            <a:lightRig rig="balanced" dir="t">
              <a:rot lat="0" lon="0" rev="2100000"/>
            </a:lightRig>
          </a:scene3d>
          <a:sp3d>
            <a:bevelT/>
          </a:sp3d>
        </p:spPr>
        <p:txBody>
          <a:bodyPr wrap="square" rtlCol="0">
            <a:spAutoFit/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eaLnBrk="0" hangingPunct="0">
              <a:spcBef>
                <a:spcPct val="15000"/>
              </a:spcBef>
              <a:spcAft>
                <a:spcPct val="15000"/>
              </a:spcAft>
              <a:buClr>
                <a:srgbClr val="040477"/>
              </a:buClr>
            </a:pPr>
            <a:r>
              <a:rPr lang="en-US" sz="2800" b="1" dirty="0" smtClean="0">
                <a:ln w="50800"/>
                <a:solidFill>
                  <a:srgbClr val="002060"/>
                </a:solidFill>
                <a:effectLst/>
                <a:latin typeface="Broadway" pitchFamily="82" charset="0"/>
              </a:rPr>
              <a:t>Nokia overview</a:t>
            </a:r>
            <a:endParaRPr lang="en-US" sz="2800" b="1" dirty="0">
              <a:ln w="50800"/>
              <a:solidFill>
                <a:srgbClr val="002060"/>
              </a:solidFill>
              <a:effectLst/>
              <a:latin typeface="Broadway" pitchFamily="82" charset="0"/>
            </a:endParaRPr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1" y="-238978"/>
            <a:ext cx="65" cy="935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103155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815163" y="1428271"/>
            <a:ext cx="16503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Operating Profit 2.84 </a:t>
            </a:r>
            <a:r>
              <a:rPr lang="en-US" sz="1400" dirty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Billion  US$ </a:t>
            </a:r>
          </a:p>
        </p:txBody>
      </p:sp>
      <p:sp>
        <p:nvSpPr>
          <p:cNvPr id="7" name="Rectangle 6"/>
          <p:cNvSpPr/>
          <p:nvPr/>
        </p:nvSpPr>
        <p:spPr>
          <a:xfrm>
            <a:off x="4925704" y="2857500"/>
            <a:ext cx="20112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Handset </a:t>
            </a:r>
            <a:r>
              <a:rPr lang="en-US" sz="1400" dirty="0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volumes 352.6 </a:t>
            </a:r>
            <a:r>
              <a:rPr lang="en-US" sz="1400" dirty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Million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-95536" y="2790780"/>
            <a:ext cx="12382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Handsets sold per day </a:t>
            </a:r>
            <a:r>
              <a:rPr lang="en-US" sz="1400" dirty="0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1 </a:t>
            </a:r>
            <a:r>
              <a:rPr lang="en-US" sz="1400" dirty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Million</a:t>
            </a:r>
          </a:p>
        </p:txBody>
      </p:sp>
      <p:sp>
        <p:nvSpPr>
          <p:cNvPr id="24" name="Rectangle 23"/>
          <p:cNvSpPr/>
          <p:nvPr/>
        </p:nvSpPr>
        <p:spPr>
          <a:xfrm>
            <a:off x="7778089" y="2438316"/>
            <a:ext cx="151765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Number of Employees </a:t>
            </a:r>
            <a:endParaRPr lang="en-US" sz="1400" dirty="0" smtClean="0">
              <a:solidFill>
                <a:schemeClr val="bg1"/>
              </a:solidFill>
              <a:effectLst>
                <a:glow rad="101600">
                  <a:schemeClr val="tx1">
                    <a:alpha val="60000"/>
                  </a:schemeClr>
                </a:glow>
              </a:effectLst>
              <a:latin typeface="Nokia Pure Text" pitchFamily="34" charset="0"/>
            </a:endParaRPr>
          </a:p>
          <a:p>
            <a:pPr algn="ctr"/>
            <a:r>
              <a:rPr lang="en-US" sz="1400" dirty="0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60815</a:t>
            </a:r>
            <a:endParaRPr lang="en-US" sz="1400" dirty="0">
              <a:solidFill>
                <a:schemeClr val="bg1"/>
              </a:solidFill>
              <a:effectLst>
                <a:glow rad="101600">
                  <a:schemeClr val="tx1">
                    <a:alpha val="60000"/>
                  </a:schemeClr>
                </a:glow>
              </a:effectLst>
              <a:latin typeface="Nokia Pure Text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504835" y="1819560"/>
            <a:ext cx="123825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smtClean="0">
                <a:solidFill>
                  <a:schemeClr val="bg1"/>
                </a:solidFill>
                <a:effectLst>
                  <a:glow rad="101600">
                    <a:schemeClr val="tx1">
                      <a:alpha val="60000"/>
                    </a:schemeClr>
                  </a:glow>
                </a:effectLst>
                <a:latin typeface="Nokia Pure Text" pitchFamily="34" charset="0"/>
              </a:rPr>
              <a:t>Present in 73 countries</a:t>
            </a:r>
            <a:endParaRPr lang="en-US" sz="1400" dirty="0">
              <a:solidFill>
                <a:schemeClr val="bg1"/>
              </a:solidFill>
              <a:effectLst>
                <a:glow rad="101600">
                  <a:schemeClr val="tx1">
                    <a:alpha val="60000"/>
                  </a:schemeClr>
                </a:glow>
              </a:effectLst>
              <a:latin typeface="Nokia Pure Text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298700" y="990600"/>
            <a:ext cx="4978400" cy="4724400"/>
            <a:chOff x="3770874" y="592667"/>
            <a:chExt cx="4978400" cy="4724400"/>
          </a:xfrm>
        </p:grpSpPr>
        <p:sp>
          <p:nvSpPr>
            <p:cNvPr id="4" name="Rectangle 3"/>
            <p:cNvSpPr/>
            <p:nvPr/>
          </p:nvSpPr>
          <p:spPr>
            <a:xfrm>
              <a:off x="3770874" y="592667"/>
              <a:ext cx="1447800" cy="6096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NAVTEQ</a:t>
              </a:r>
              <a:endParaRPr lang="en-US" sz="1400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5358374" y="592667"/>
              <a:ext cx="1752600" cy="6096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>
                  <a:latin typeface="Nokia Pure Text" pitchFamily="34" charset="0"/>
                </a:rPr>
                <a:t>CEO</a:t>
              </a:r>
              <a:endParaRPr lang="en-US" sz="1400" dirty="0">
                <a:latin typeface="Nokia Pure Text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7276074" y="592667"/>
              <a:ext cx="1447800" cy="609600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Nokia </a:t>
              </a:r>
              <a:r>
                <a:rPr lang="en-US" sz="1400" dirty="0"/>
                <a:t>S</a:t>
              </a:r>
              <a:r>
                <a:rPr lang="en-US" sz="1400" dirty="0" smtClean="0"/>
                <a:t>iemens Networks</a:t>
              </a:r>
              <a:endParaRPr lang="en-US" sz="1400" dirty="0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7631674" y="1278467"/>
              <a:ext cx="1079500" cy="19558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Markets</a:t>
              </a:r>
              <a:endParaRPr lang="en-US" sz="1400" dirty="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450574" y="1265767"/>
              <a:ext cx="1079500" cy="19558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Smart Devices</a:t>
              </a:r>
              <a:endParaRPr lang="en-US" sz="1400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250424" y="1265767"/>
              <a:ext cx="1079500" cy="1955800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Mobile Phones</a:t>
              </a:r>
              <a:endParaRPr lang="en-US" sz="1400" dirty="0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5237724" y="3285067"/>
              <a:ext cx="3473450" cy="6096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Services &amp; Developer Experience</a:t>
              </a:r>
              <a:endParaRPr lang="en-US" sz="1400" dirty="0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253599" y="3996267"/>
              <a:ext cx="3473450" cy="6096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Design</a:t>
              </a:r>
              <a:endParaRPr lang="en-US" sz="1400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275824" y="4707467"/>
              <a:ext cx="3473450" cy="609600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smtClean="0"/>
                <a:t>CTO Office</a:t>
              </a:r>
              <a:endParaRPr lang="en-US" sz="1400" dirty="0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783574" y="1291167"/>
              <a:ext cx="1416050" cy="520700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orporate Development</a:t>
              </a:r>
              <a:endParaRPr lang="en-US" sz="1200" dirty="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3783574" y="1875367"/>
              <a:ext cx="1416050" cy="520700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FO Office</a:t>
              </a:r>
              <a:endParaRPr lang="en-US" sz="1200" dirty="0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3783574" y="2459567"/>
              <a:ext cx="1416050" cy="520700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Human Resources</a:t>
              </a:r>
              <a:endParaRPr lang="en-US" sz="1200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783574" y="3043767"/>
              <a:ext cx="1416050" cy="520700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Legal &amp; Intellectual property</a:t>
              </a:r>
              <a:endParaRPr lang="en-US" sz="1200" dirty="0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3783574" y="3627967"/>
              <a:ext cx="1416050" cy="520700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Corporate Relations &amp; Responsibility</a:t>
              </a:r>
              <a:endParaRPr lang="en-US" sz="1200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3783574" y="4212167"/>
              <a:ext cx="1416050" cy="520700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Quality &amp; Capability Development</a:t>
              </a:r>
              <a:endParaRPr lang="en-US" sz="1200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783574" y="4796367"/>
              <a:ext cx="1416050" cy="520700"/>
            </a:xfrm>
            <a:prstGeom prst="rect">
              <a:avLst/>
            </a:prstGeom>
            <a:solidFill>
              <a:srgbClr val="7F7F7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 smtClean="0"/>
                <a:t>Workplace Resources</a:t>
              </a:r>
              <a:endParaRPr 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33323999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5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11111E-6 1.11111E-6 L -0.44028 -0.25556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2014" y="-127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400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4000"/>
                            </p:stCondLst>
                            <p:childTnLst>
                              <p:par>
                                <p:cTn id="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4000"/>
                            </p:stCondLst>
                            <p:childTnLst>
                              <p:par>
                                <p:cTn id="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4000"/>
                            </p:stCondLst>
                            <p:childTnLst>
                              <p:par>
                                <p:cTn id="2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00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  <p:bldP spid="7" grpId="0"/>
      <p:bldP spid="23" grpId="0"/>
      <p:bldP spid="24" grpId="0"/>
      <p:bldP spid="2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http://www.marketingprofs.com/assets/images/daily-data-point/top-leadership-qualities-ibm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347842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0" y="152400"/>
            <a:ext cx="9144000" cy="990600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balanced" dir="t">
              <a:rot lat="0" lon="0" rev="2100000"/>
            </a:lightRig>
          </a:scene3d>
          <a:sp3d/>
        </p:spPr>
        <p:txBody>
          <a:bodyPr wrap="square" rtlCol="0">
            <a:noAutofit/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eaLnBrk="0" hangingPunct="0">
              <a:spcBef>
                <a:spcPct val="15000"/>
              </a:spcBef>
              <a:spcAft>
                <a:spcPct val="15000"/>
              </a:spcAft>
              <a:buClr>
                <a:srgbClr val="040477"/>
              </a:buClr>
            </a:pPr>
            <a:r>
              <a:rPr lang="en-US" sz="3200" b="1" dirty="0" smtClean="0">
                <a:solidFill>
                  <a:srgbClr val="C00000"/>
                </a:solidFill>
                <a:effectLst/>
                <a:latin typeface="Nokia Pure Text" pitchFamily="34" charset="0"/>
              </a:rPr>
              <a:t>Innovation Triangle</a:t>
            </a:r>
            <a:endParaRPr lang="en-US" sz="3200" b="1" dirty="0">
              <a:solidFill>
                <a:srgbClr val="C00000"/>
              </a:solidFill>
              <a:effectLst/>
              <a:latin typeface="Nokia Pure Text" pitchFamily="34" charset="0"/>
            </a:endParaRPr>
          </a:p>
        </p:txBody>
      </p:sp>
      <p:sp>
        <p:nvSpPr>
          <p:cNvPr id="3" name="Isosceles Triangle 2"/>
          <p:cNvSpPr/>
          <p:nvPr/>
        </p:nvSpPr>
        <p:spPr>
          <a:xfrm>
            <a:off x="2447925" y="815310"/>
            <a:ext cx="4267200" cy="4419600"/>
          </a:xfrm>
          <a:prstGeom prst="triangle">
            <a:avLst/>
          </a:prstGeom>
          <a:gradFill>
            <a:gsLst>
              <a:gs pos="0">
                <a:srgbClr val="FFF200"/>
              </a:gs>
              <a:gs pos="45000">
                <a:srgbClr val="FF7A00"/>
              </a:gs>
              <a:gs pos="70000">
                <a:srgbClr val="FF0300"/>
              </a:gs>
              <a:gs pos="100000">
                <a:srgbClr val="4D0808"/>
              </a:gs>
            </a:gsLst>
            <a:lin ang="5400000" scaled="0"/>
          </a:gradFill>
          <a:ln>
            <a:noFill/>
          </a:ln>
          <a:scene3d>
            <a:camera prst="isometricRightUp"/>
            <a:lightRig rig="sunset" dir="t"/>
          </a:scene3d>
          <a:sp3d extrusionH="254000" contourW="12700" prstMaterial="metal">
            <a:extrusionClr>
              <a:srgbClr val="C00000"/>
            </a:extrusionClr>
            <a:contourClr>
              <a:srgbClr val="FF0000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5" name="Straight Connector 24"/>
          <p:cNvCxnSpPr/>
          <p:nvPr/>
        </p:nvCxnSpPr>
        <p:spPr>
          <a:xfrm flipH="1">
            <a:off x="3659604" y="2916898"/>
            <a:ext cx="1826248" cy="10416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H="1">
            <a:off x="3968800" y="2401823"/>
            <a:ext cx="1212800" cy="69176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 flipH="1">
            <a:off x="4276725" y="1814581"/>
            <a:ext cx="617846" cy="35240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3405652" y="3479845"/>
            <a:ext cx="2385548" cy="1374065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4" name="TextBox 3083"/>
          <p:cNvSpPr txBox="1"/>
          <p:nvPr/>
        </p:nvSpPr>
        <p:spPr>
          <a:xfrm rot="19800000">
            <a:off x="4043590" y="2871221"/>
            <a:ext cx="1303562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r>
              <a:rPr lang="en-US" sz="14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glow rad="63500">
                    <a:schemeClr val="tx1"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Century Schoolbook" pitchFamily="18" charset="0"/>
              </a:rPr>
              <a:t>Innovations</a:t>
            </a:r>
            <a:endParaRPr lang="en-US" sz="1400" b="1" dirty="0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glow rad="63500">
                  <a:schemeClr val="tx1"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Century Schoolbook" pitchFamily="18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 rot="19800000">
            <a:off x="4405028" y="4158524"/>
            <a:ext cx="1132041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r>
              <a:rPr lang="en-US" sz="1400" b="1" dirty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glow rad="63500">
                    <a:schemeClr val="tx1"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Century Schoolbook" pitchFamily="18" charset="0"/>
              </a:rPr>
              <a:t>C</a:t>
            </a:r>
            <a:r>
              <a:rPr lang="en-US" sz="14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glow rad="63500">
                    <a:schemeClr val="tx1"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Century Schoolbook" pitchFamily="18" charset="0"/>
              </a:rPr>
              <a:t>reativity</a:t>
            </a:r>
            <a:endParaRPr lang="en-US" sz="1400" b="1" dirty="0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glow rad="63500">
                  <a:schemeClr val="tx1"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Century Schoolbook" pitchFamily="18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 rot="19800000">
            <a:off x="4394474" y="3553921"/>
            <a:ext cx="696024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r>
              <a:rPr lang="en-US" sz="14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glow rad="63500">
                    <a:schemeClr val="tx1"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Century Schoolbook" pitchFamily="18" charset="0"/>
              </a:rPr>
              <a:t>Ideas</a:t>
            </a:r>
            <a:endParaRPr lang="en-US" sz="1400" b="1" dirty="0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glow rad="63500">
                  <a:schemeClr val="tx1"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Century Schoolbook" pitchFamily="18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 rot="19800000">
            <a:off x="4025875" y="2081800"/>
            <a:ext cx="1214232" cy="523220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14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glow rad="63500">
                    <a:schemeClr val="tx1"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Century Schoolbook" pitchFamily="18" charset="0"/>
              </a:rPr>
              <a:t>New Business</a:t>
            </a:r>
            <a:endParaRPr lang="en-US" sz="1400" b="1" dirty="0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glow rad="63500">
                  <a:schemeClr val="tx1"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Century Schoolbook" pitchFamily="18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 rot="19800000">
            <a:off x="4389414" y="1563478"/>
            <a:ext cx="407484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r>
              <a:rPr lang="en-US" sz="14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glow rad="101600">
                    <a:schemeClr val="tx1"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j-lt"/>
              </a:rPr>
              <a:t>$ $</a:t>
            </a:r>
            <a:endParaRPr lang="en-US" sz="1400" b="1" dirty="0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glow rad="101600">
                  <a:schemeClr val="tx1"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+mj-lt"/>
            </a:endParaRPr>
          </a:p>
        </p:txBody>
      </p:sp>
      <p:sp>
        <p:nvSpPr>
          <p:cNvPr id="51" name="TextBox 50"/>
          <p:cNvSpPr txBox="1"/>
          <p:nvPr/>
        </p:nvSpPr>
        <p:spPr>
          <a:xfrm rot="19800000">
            <a:off x="2481150" y="3735887"/>
            <a:ext cx="1096775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r>
              <a:rPr lang="en-US" sz="14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glow rad="63500">
                    <a:schemeClr val="tx1"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Century Schoolbook" pitchFamily="18" charset="0"/>
              </a:rPr>
              <a:t>Processes</a:t>
            </a:r>
            <a:endParaRPr lang="en-US" sz="1400" b="1" dirty="0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glow rad="63500">
                  <a:schemeClr val="tx1"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Century Schoolbook" pitchFamily="18" charset="0"/>
            </a:endParaRPr>
          </a:p>
        </p:txBody>
      </p:sp>
      <p:sp>
        <p:nvSpPr>
          <p:cNvPr id="52" name="TextBox 51"/>
          <p:cNvSpPr txBox="1"/>
          <p:nvPr/>
        </p:nvSpPr>
        <p:spPr>
          <a:xfrm rot="19800000">
            <a:off x="2131788" y="5352886"/>
            <a:ext cx="817853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r>
              <a:rPr lang="en-US" sz="14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glow rad="63500">
                    <a:schemeClr val="tx1"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Century Schoolbook" pitchFamily="18" charset="0"/>
              </a:rPr>
              <a:t>People</a:t>
            </a:r>
            <a:endParaRPr lang="en-US" sz="1400" b="1" dirty="0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glow rad="63500">
                  <a:schemeClr val="tx1"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Century Schoolbook" pitchFamily="18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 rot="19800000">
            <a:off x="2378453" y="4526398"/>
            <a:ext cx="906017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r>
              <a:rPr lang="en-US" sz="14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glow rad="63500">
                    <a:schemeClr val="tx1"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Century Schoolbook" pitchFamily="18" charset="0"/>
              </a:rPr>
              <a:t>Culture</a:t>
            </a:r>
            <a:endParaRPr lang="en-US" sz="1400" b="1" dirty="0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glow rad="63500">
                  <a:schemeClr val="tx1"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Century Schoolbook" pitchFamily="18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 rot="19800000">
            <a:off x="2752561" y="2815392"/>
            <a:ext cx="1214232" cy="307777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14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glow rad="63500">
                    <a:schemeClr val="tx1"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Century Schoolbook" pitchFamily="18" charset="0"/>
              </a:rPr>
              <a:t>Partners</a:t>
            </a:r>
            <a:endParaRPr lang="en-US" sz="1400" b="1" dirty="0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glow rad="63500">
                  <a:schemeClr val="tx1"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Century Schoolbook" pitchFamily="18" charset="0"/>
            </a:endParaRPr>
          </a:p>
        </p:txBody>
      </p:sp>
      <p:pic>
        <p:nvPicPr>
          <p:cNvPr id="56" name="Picture 5" descr="http://www.atlantechsolar.com/animated_arrow_10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4253337">
            <a:off x="5899728" y="2236317"/>
            <a:ext cx="934998" cy="409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/>
          <p:cNvSpPr txBox="1"/>
          <p:nvPr/>
        </p:nvSpPr>
        <p:spPr>
          <a:xfrm rot="19800000">
            <a:off x="4963113" y="1120349"/>
            <a:ext cx="1606577" cy="646331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glow rad="101600">
                    <a:schemeClr val="tx1"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+mj-lt"/>
              </a:rPr>
              <a:t>Business Performance</a:t>
            </a:r>
            <a:endParaRPr lang="en-US" b="1" dirty="0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glow rad="101600">
                  <a:schemeClr val="tx1"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+mj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0" y="5486400"/>
            <a:ext cx="9144000" cy="838200"/>
          </a:xfrm>
          <a:prstGeom prst="rect">
            <a:avLst/>
          </a:prstGeom>
          <a:noFill/>
          <a:ln>
            <a:noFill/>
          </a:ln>
          <a:effectLst/>
          <a:scene3d>
            <a:camera prst="orthographicFront"/>
            <a:lightRig rig="balanced" dir="t">
              <a:rot lat="0" lon="0" rev="2100000"/>
            </a:lightRig>
          </a:scene3d>
          <a:sp3d/>
        </p:spPr>
        <p:txBody>
          <a:bodyPr wrap="square" rtlCol="0">
            <a:noAutofit/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eaLnBrk="0" hangingPunct="0">
              <a:spcBef>
                <a:spcPct val="15000"/>
              </a:spcBef>
              <a:spcAft>
                <a:spcPct val="15000"/>
              </a:spcAft>
              <a:buClr>
                <a:srgbClr val="040477"/>
              </a:buClr>
            </a:pPr>
            <a:endParaRPr lang="en-US" sz="3200" b="1" dirty="0" smtClean="0">
              <a:solidFill>
                <a:srgbClr val="C00000"/>
              </a:solidFill>
              <a:effectLst/>
              <a:latin typeface="Nokia Pure Text" pitchFamily="34" charset="0"/>
            </a:endParaRPr>
          </a:p>
          <a:p>
            <a:pPr algn="ctr" eaLnBrk="0" hangingPunct="0">
              <a:spcBef>
                <a:spcPct val="15000"/>
              </a:spcBef>
              <a:spcAft>
                <a:spcPct val="15000"/>
              </a:spcAft>
              <a:buClr>
                <a:srgbClr val="040477"/>
              </a:buClr>
            </a:pPr>
            <a:r>
              <a:rPr lang="en-US" sz="3200" b="1" dirty="0" smtClean="0">
                <a:solidFill>
                  <a:srgbClr val="C00000"/>
                </a:solidFill>
                <a:effectLst/>
                <a:latin typeface="Nokia Pure Text" pitchFamily="34" charset="0"/>
              </a:rPr>
              <a:t>Innovation in </a:t>
            </a:r>
            <a:r>
              <a:rPr lang="en-US" sz="3200" b="1" dirty="0" smtClean="0">
                <a:solidFill>
                  <a:srgbClr val="C00000"/>
                </a:solidFill>
                <a:latin typeface="Nokia Pure Text" pitchFamily="34" charset="0"/>
              </a:rPr>
              <a:t>Performance Management</a:t>
            </a:r>
            <a:endParaRPr lang="en-US" sz="3200" b="1" dirty="0">
              <a:solidFill>
                <a:srgbClr val="C00000"/>
              </a:solidFill>
              <a:effectLst/>
              <a:latin typeface="Nokia Pure Text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 rot="19800000">
            <a:off x="2981161" y="1923882"/>
            <a:ext cx="1214232" cy="307777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14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glow rad="63500">
                    <a:schemeClr val="tx1">
                      <a:alpha val="40000"/>
                    </a:schemeClr>
                  </a:glow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  <a:latin typeface="Century Schoolbook" pitchFamily="18" charset="0"/>
              </a:rPr>
              <a:t>Networks</a:t>
            </a:r>
            <a:endParaRPr lang="en-US" sz="1400" b="1" dirty="0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glow rad="63500">
                  <a:schemeClr val="tx1">
                    <a:alpha val="40000"/>
                  </a:schemeClr>
                </a:glow>
                <a:outerShdw blurRad="80000" dist="40000" dir="5040000" algn="tl">
                  <a:srgbClr val="000000">
                    <a:alpha val="30000"/>
                  </a:srgbClr>
                </a:outerShdw>
              </a:effectLst>
              <a:latin typeface="Century Schoolbook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744154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revolving gear.gif"/>
          <p:cNvPicPr>
            <a:picLocks noChangeAspect="1"/>
          </p:cNvPicPr>
          <p:nvPr/>
        </p:nvPicPr>
        <p:blipFill>
          <a:blip r:embed="rId3">
            <a:lum bright="17000" contrast="6000"/>
          </a:blip>
          <a:stretch>
            <a:fillRect/>
          </a:stretch>
        </p:blipFill>
        <p:spPr>
          <a:xfrm>
            <a:off x="2135772" y="881710"/>
            <a:ext cx="5105400" cy="5105400"/>
          </a:xfrm>
          <a:prstGeom prst="rect">
            <a:avLst/>
          </a:prstGeom>
        </p:spPr>
      </p:pic>
      <p:sp>
        <p:nvSpPr>
          <p:cNvPr id="13" name="Isosceles Triangle 12"/>
          <p:cNvSpPr/>
          <p:nvPr/>
        </p:nvSpPr>
        <p:spPr>
          <a:xfrm rot="18628229">
            <a:off x="1584164" y="463768"/>
            <a:ext cx="1060704" cy="914400"/>
          </a:xfrm>
          <a:prstGeom prst="triangl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Isosceles Triangle 9"/>
          <p:cNvSpPr/>
          <p:nvPr/>
        </p:nvSpPr>
        <p:spPr>
          <a:xfrm rot="13455645">
            <a:off x="1605419" y="5514396"/>
            <a:ext cx="1060704" cy="914400"/>
          </a:xfrm>
          <a:prstGeom prst="triangl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Isosceles Triangle 8"/>
          <p:cNvSpPr/>
          <p:nvPr/>
        </p:nvSpPr>
        <p:spPr>
          <a:xfrm rot="8207230">
            <a:off x="6671285" y="5560424"/>
            <a:ext cx="1060704" cy="914400"/>
          </a:xfrm>
          <a:prstGeom prst="triangl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Isosceles Triangle 2"/>
          <p:cNvSpPr/>
          <p:nvPr/>
        </p:nvSpPr>
        <p:spPr>
          <a:xfrm rot="2631353">
            <a:off x="6710820" y="439023"/>
            <a:ext cx="1060704" cy="914400"/>
          </a:xfrm>
          <a:prstGeom prst="triangl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onut 5"/>
          <p:cNvSpPr/>
          <p:nvPr/>
        </p:nvSpPr>
        <p:spPr bwMode="auto">
          <a:xfrm rot="838431">
            <a:off x="1442448" y="232070"/>
            <a:ext cx="6492273" cy="6393472"/>
          </a:xfrm>
          <a:prstGeom prst="donut">
            <a:avLst>
              <a:gd name="adj" fmla="val 10623"/>
            </a:avLst>
          </a:prstGeom>
          <a:solidFill>
            <a:srgbClr val="0070C0"/>
          </a:solidFill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>
            <a:innerShdw blurRad="533400" dist="368300" dir="6540000">
              <a:prstClr val="black">
                <a:alpha val="66000"/>
              </a:prstClr>
            </a:innerShdw>
          </a:effectLst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762000" eaLnBrk="0" hangingPunct="0">
              <a:spcBef>
                <a:spcPct val="15000"/>
              </a:spcBef>
              <a:spcAft>
                <a:spcPct val="15000"/>
              </a:spcAft>
              <a:buClr>
                <a:srgbClr val="2187B0"/>
              </a:buClr>
            </a:pPr>
            <a:endParaRPr lang="en-US" smtClean="0">
              <a:solidFill>
                <a:srgbClr val="124191"/>
              </a:solidFill>
              <a:latin typeface="Nokia Sans Wide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 rot="16200000">
            <a:off x="2157284" y="330007"/>
            <a:ext cx="5059681" cy="5713354"/>
          </a:xfrm>
          <a:prstGeom prst="rect">
            <a:avLst/>
          </a:prstGeom>
          <a:noFill/>
          <a:scene3d>
            <a:camera prst="orthographicFront"/>
            <a:lightRig rig="balanced" dir="t">
              <a:rot lat="0" lon="0" rev="2100000"/>
            </a:lightRig>
          </a:scene3d>
          <a:sp3d>
            <a:bevelT/>
          </a:sp3d>
        </p:spPr>
        <p:txBody>
          <a:bodyPr wrap="square" rtlCol="0">
            <a:prstTxWarp prst="textCircle">
              <a:avLst/>
            </a:prstTxWarp>
            <a:spAutoFit/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>
              <a:buClr>
                <a:srgbClr val="040477"/>
              </a:buClr>
            </a:pPr>
            <a:r>
              <a:rPr lang="en-US" sz="3600" b="1" dirty="0" smtClean="0">
                <a:ln w="50800"/>
                <a:solidFill>
                  <a:schemeClr val="accent4"/>
                </a:solidFill>
                <a:effectLst/>
                <a:latin typeface="Broadway" pitchFamily="82" charset="0"/>
              </a:rPr>
              <a:t>Innovation is key to Business Performance</a:t>
            </a:r>
            <a:endParaRPr lang="en-US" sz="3600" b="1" dirty="0">
              <a:ln w="50800"/>
              <a:solidFill>
                <a:schemeClr val="accent4"/>
              </a:solidFill>
              <a:effectLst/>
              <a:latin typeface="Broadway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41973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>
            <a:lumMod val="95000"/>
            <a:lumOff val="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52400" y="79830"/>
            <a:ext cx="8839200" cy="5232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r>
              <a:rPr lang="en-US" sz="2800" b="1" dirty="0">
                <a:ln w="11430"/>
                <a:solidFill>
                  <a:srgbClr val="0070C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Aligning Employee Performance to Business Plans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533400" y="609600"/>
            <a:ext cx="8305800" cy="6096000"/>
            <a:chOff x="533400" y="609600"/>
            <a:chExt cx="8305800" cy="6096000"/>
          </a:xfrm>
        </p:grpSpPr>
        <p:pic>
          <p:nvPicPr>
            <p:cNvPr id="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400" y="609600"/>
              <a:ext cx="8305800" cy="60960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" name="TextBox 1"/>
            <p:cNvSpPr txBox="1"/>
            <p:nvPr/>
          </p:nvSpPr>
          <p:spPr>
            <a:xfrm>
              <a:off x="5105400" y="3058834"/>
              <a:ext cx="949299" cy="307777"/>
            </a:xfrm>
            <a:prstGeom prst="rect">
              <a:avLst/>
            </a:prstGeom>
            <a:solidFill>
              <a:srgbClr val="1B5C21"/>
            </a:solidFill>
          </p:spPr>
          <p:txBody>
            <a:bodyPr wrap="none" rtlCol="0">
              <a:spAutoFit/>
            </a:bodyPr>
            <a:lstStyle/>
            <a:p>
              <a:r>
                <a:rPr lang="en-US" sz="1400" dirty="0" smtClean="0">
                  <a:solidFill>
                    <a:schemeClr val="bg1"/>
                  </a:solidFill>
                  <a:latin typeface="MV Boli" pitchFamily="2" charset="0"/>
                  <a:cs typeface="MV Boli" pitchFamily="2" charset="0"/>
                </a:rPr>
                <a:t>Expertise</a:t>
              </a:r>
              <a:endParaRPr lang="en-US" sz="1400" dirty="0">
                <a:solidFill>
                  <a:schemeClr val="bg1"/>
                </a:solidFill>
                <a:latin typeface="MV Boli" pitchFamily="2" charset="0"/>
                <a:cs typeface="MV Boli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4014052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auto">
          <a:xfrm rot="2309582">
            <a:off x="4148881" y="5645690"/>
            <a:ext cx="1627587" cy="366767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762000" rtl="0" eaLnBrk="0" fontAlgn="base" latinLnBrk="0" hangingPunct="0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Nokia Sans Wide" pitchFamily="34" charset="0"/>
            </a:endParaRPr>
          </a:p>
        </p:txBody>
      </p:sp>
      <p:pic>
        <p:nvPicPr>
          <p:cNvPr id="1026" name="Picture 2" descr="Planet Gear (gif 1.6 MB)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7172" y="1292135"/>
            <a:ext cx="8239649" cy="5573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 Box 60"/>
          <p:cNvSpPr txBox="1">
            <a:spLocks noChangeArrowheads="1"/>
          </p:cNvSpPr>
          <p:nvPr/>
        </p:nvSpPr>
        <p:spPr bwMode="auto">
          <a:xfrm>
            <a:off x="3885139" y="2949353"/>
            <a:ext cx="2079201" cy="8284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488" tIns="44450" rIns="90488" bIns="44450">
            <a:spAutoFit/>
            <a:scene3d>
              <a:camera prst="perspectiveContrastingRightFacing"/>
              <a:lightRig rig="threePt" dir="t"/>
            </a:scene3d>
          </a:bodyPr>
          <a:lstStyle>
            <a:lvl1pPr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5715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7145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2860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15000"/>
              </a:spcBef>
              <a:spcAft>
                <a:spcPct val="15000"/>
              </a:spcAft>
            </a:pPr>
            <a:r>
              <a:rPr lang="en-US" b="1" dirty="0" smtClean="0">
                <a:solidFill>
                  <a:srgbClr val="000000"/>
                </a:solidFill>
                <a:latin typeface="Nokia Sans Wide" pitchFamily="34" charset="0"/>
              </a:rPr>
              <a:t>Innovation Mindset</a:t>
            </a:r>
            <a:endParaRPr lang="en-US" b="1" dirty="0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18" name="Text Box 60"/>
          <p:cNvSpPr txBox="1">
            <a:spLocks noChangeArrowheads="1"/>
          </p:cNvSpPr>
          <p:nvPr/>
        </p:nvSpPr>
        <p:spPr bwMode="auto">
          <a:xfrm>
            <a:off x="1619540" y="2875256"/>
            <a:ext cx="1750327" cy="520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488" tIns="44450" rIns="90488" bIns="44450">
            <a:spAutoFit/>
            <a:scene3d>
              <a:camera prst="perspectiveContrastingRightFacing"/>
              <a:lightRig rig="threePt" dir="t"/>
            </a:scene3d>
          </a:bodyPr>
          <a:lstStyle>
            <a:lvl1pPr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5715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7145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2860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15000"/>
              </a:spcBef>
              <a:spcAft>
                <a:spcPct val="1500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Nokia Sans Wide" pitchFamily="34" charset="0"/>
              </a:rPr>
              <a:t>Shared vision of the Future</a:t>
            </a:r>
            <a:endParaRPr lang="en-US" sz="1400" b="1" dirty="0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19" name="Text Box 60"/>
          <p:cNvSpPr txBox="1">
            <a:spLocks noChangeArrowheads="1"/>
          </p:cNvSpPr>
          <p:nvPr/>
        </p:nvSpPr>
        <p:spPr bwMode="auto">
          <a:xfrm>
            <a:off x="5396552" y="4635201"/>
            <a:ext cx="2079201" cy="520655"/>
          </a:xfrm>
          <a:prstGeom prst="rect">
            <a:avLst/>
          </a:prstGeom>
          <a:noFill/>
          <a:ln>
            <a:noFill/>
          </a:ln>
          <a:effectLst/>
          <a:scene3d>
            <a:camera prst="perspectiveContrastingRightFacing"/>
            <a:lightRig rig="threePt" dir="t"/>
          </a:scene3d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488" tIns="44450" rIns="90488" bIns="44450">
            <a:spAutoFit/>
            <a:scene3d>
              <a:camera prst="perspectiveContrastingRightFacing"/>
              <a:lightRig rig="threePt" dir="t"/>
            </a:scene3d>
          </a:bodyPr>
          <a:lstStyle>
            <a:lvl1pPr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5715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7145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2860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15000"/>
              </a:spcBef>
              <a:spcAft>
                <a:spcPct val="1500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Nokia Sans Wide" pitchFamily="34" charset="0"/>
              </a:rPr>
              <a:t>Strategic Innovation Agenda</a:t>
            </a:r>
            <a:endParaRPr lang="en-US" sz="1400" b="1" dirty="0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21" name="Text Box 60"/>
          <p:cNvSpPr txBox="1">
            <a:spLocks noChangeArrowheads="1"/>
          </p:cNvSpPr>
          <p:nvPr/>
        </p:nvSpPr>
        <p:spPr bwMode="auto">
          <a:xfrm>
            <a:off x="4685829" y="1915902"/>
            <a:ext cx="1750327" cy="5206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0488" tIns="44450" rIns="90488" bIns="44450">
            <a:spAutoFit/>
            <a:scene3d>
              <a:camera prst="perspectiveContrastingRightFacing"/>
              <a:lightRig rig="threePt" dir="t"/>
            </a:scene3d>
          </a:bodyPr>
          <a:lstStyle>
            <a:lvl1pPr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5715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7145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286000" defTabSz="76200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>
              <a:spcBef>
                <a:spcPct val="15000"/>
              </a:spcBef>
              <a:spcAft>
                <a:spcPct val="15000"/>
              </a:spcAft>
            </a:pPr>
            <a:r>
              <a:rPr lang="en-US" sz="1400" b="1" dirty="0" smtClean="0">
                <a:solidFill>
                  <a:srgbClr val="000000"/>
                </a:solidFill>
                <a:latin typeface="Nokia Sans Wide" pitchFamily="34" charset="0"/>
              </a:rPr>
              <a:t>Senior Mgt. Involvement</a:t>
            </a:r>
            <a:endParaRPr lang="en-US" sz="1100" b="1" dirty="0">
              <a:solidFill>
                <a:srgbClr val="000000"/>
              </a:solidFill>
              <a:latin typeface="Nokia Sans Wide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092018" y="0"/>
            <a:ext cx="7046793" cy="5232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r>
              <a:rPr lang="en-US" sz="2800" b="1" dirty="0">
                <a:ln w="11430"/>
                <a:solidFill>
                  <a:srgbClr val="0070C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How to ensure High Performance</a:t>
            </a:r>
          </a:p>
        </p:txBody>
      </p:sp>
      <p:sp>
        <p:nvSpPr>
          <p:cNvPr id="4" name="Isosceles Triangle 3"/>
          <p:cNvSpPr/>
          <p:nvPr/>
        </p:nvSpPr>
        <p:spPr>
          <a:xfrm rot="2677015">
            <a:off x="6684149" y="973523"/>
            <a:ext cx="3196062" cy="1676400"/>
          </a:xfrm>
          <a:prstGeom prst="triangl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Isosceles Triangle 13"/>
          <p:cNvSpPr/>
          <p:nvPr/>
        </p:nvSpPr>
        <p:spPr>
          <a:xfrm rot="18700779">
            <a:off x="-791993" y="816001"/>
            <a:ext cx="3196062" cy="1676400"/>
          </a:xfrm>
          <a:prstGeom prst="triangl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Isosceles Triangle 14"/>
          <p:cNvSpPr/>
          <p:nvPr/>
        </p:nvSpPr>
        <p:spPr>
          <a:xfrm rot="13759948">
            <a:off x="-1185748" y="4718129"/>
            <a:ext cx="4265251" cy="2600543"/>
          </a:xfrm>
          <a:prstGeom prst="triangl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Isosceles Triangle 15"/>
          <p:cNvSpPr/>
          <p:nvPr/>
        </p:nvSpPr>
        <p:spPr>
          <a:xfrm rot="7970370">
            <a:off x="6177691" y="5211083"/>
            <a:ext cx="3922238" cy="1910983"/>
          </a:xfrm>
          <a:prstGeom prst="triangl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0" y="6018400"/>
            <a:ext cx="9144000" cy="8396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8516257" y="3257744"/>
            <a:ext cx="620986" cy="1466655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Donut 22"/>
          <p:cNvSpPr/>
          <p:nvPr/>
        </p:nvSpPr>
        <p:spPr bwMode="auto">
          <a:xfrm rot="838431">
            <a:off x="403333" y="711632"/>
            <a:ext cx="8424165" cy="6057064"/>
          </a:xfrm>
          <a:prstGeom prst="donut">
            <a:avLst>
              <a:gd name="adj" fmla="val 13071"/>
            </a:avLst>
          </a:prstGeom>
          <a:solidFill>
            <a:srgbClr val="00B050"/>
          </a:solidFill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>
            <a:glow rad="228600">
              <a:srgbClr val="00B050">
                <a:alpha val="40000"/>
              </a:srgbClr>
            </a:glow>
            <a:innerShdw blurRad="533400" dist="368300" dir="6540000">
              <a:prstClr val="black">
                <a:alpha val="66000"/>
              </a:prstClr>
            </a:innerShdw>
          </a:effectLst>
        </p:spPr>
        <p:txBody>
          <a:bodyPr vert="horz" wrap="square" lIns="90488" tIns="44450" rIns="90488" bIns="4445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762000" rtl="0" eaLnBrk="0" fontAlgn="base" latinLnBrk="0" hangingPunct="0">
              <a:lnSpc>
                <a:spcPct val="100000"/>
              </a:lnSpc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buSzTx/>
              <a:buFontTx/>
              <a:buNone/>
              <a:tabLst/>
            </a:pP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>
                <a:glow rad="228600">
                  <a:schemeClr val="accent4">
                    <a:satMod val="175000"/>
                    <a:alpha val="40000"/>
                  </a:schemeClr>
                </a:glow>
              </a:effectLst>
              <a:latin typeface="Nokia Sans Wide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 rot="17100695">
            <a:off x="2413608" y="-229095"/>
            <a:ext cx="4802083" cy="7442566"/>
          </a:xfrm>
          <a:prstGeom prst="rect">
            <a:avLst/>
          </a:prstGeom>
          <a:noFill/>
          <a:scene3d>
            <a:camera prst="orthographicFront"/>
            <a:lightRig rig="balanced" dir="t">
              <a:rot lat="0" lon="0" rev="2100000"/>
            </a:lightRig>
          </a:scene3d>
          <a:sp3d>
            <a:bevelT/>
          </a:sp3d>
        </p:spPr>
        <p:txBody>
          <a:bodyPr wrap="square" rtlCol="0">
            <a:prstTxWarp prst="textCircle">
              <a:avLst/>
            </a:prstTxWarp>
            <a:spAutoFit/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>
              <a:buClr>
                <a:srgbClr val="040477"/>
              </a:buClr>
            </a:pPr>
            <a:r>
              <a:rPr lang="en-US" sz="2800" b="1" dirty="0" smtClean="0">
                <a:ln w="50800"/>
                <a:solidFill>
                  <a:srgbClr val="FFC000"/>
                </a:solidFill>
                <a:effectLst>
                  <a:glow rad="63500">
                    <a:schemeClr val="accent2">
                      <a:satMod val="175000"/>
                      <a:alpha val="40000"/>
                    </a:schemeClr>
                  </a:glow>
                </a:effectLst>
                <a:latin typeface="Broadway" pitchFamily="82" charset="0"/>
              </a:rPr>
              <a:t>Business Performance</a:t>
            </a:r>
            <a:endParaRPr lang="en-US" sz="2800" b="1" dirty="0">
              <a:ln w="50800"/>
              <a:solidFill>
                <a:srgbClr val="FFC000"/>
              </a:solidFill>
              <a:effectLst>
                <a:glow rad="63500">
                  <a:schemeClr val="accent2">
                    <a:satMod val="175000"/>
                    <a:alpha val="40000"/>
                  </a:schemeClr>
                </a:glow>
              </a:effectLst>
              <a:latin typeface="Broadway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346049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4" descr="http://hiddenlighthouse.files.wordpress.com/2010/05/prague_astronomical_clock_animated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23892" y="2644474"/>
            <a:ext cx="4363692" cy="1894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6" descr="http://www.copyandpastegraphics2.com/images/arrow_curved_2_right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7435834" flipH="1">
            <a:off x="1052363" y="4888350"/>
            <a:ext cx="549428" cy="1176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6" descr="http://www.copyandpastegraphics2.com/images/arrow_curved_2_right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422011" flipH="1">
            <a:off x="7274292" y="5034359"/>
            <a:ext cx="549428" cy="1176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6" descr="http://www.copyandpastegraphics2.com/images/arrow_curved_2_right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3416440" flipH="1">
            <a:off x="1245490" y="1413453"/>
            <a:ext cx="549428" cy="1176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http://www.copyandpastegraphics2.com/images/arrow_curved_2_right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EFFFF"/>
              </a:clrFrom>
              <a:clrTo>
                <a:srgbClr val="FE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16920111" flipH="1">
            <a:off x="7317033" y="1417482"/>
            <a:ext cx="549428" cy="1176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Donut 5"/>
          <p:cNvSpPr/>
          <p:nvPr/>
        </p:nvSpPr>
        <p:spPr>
          <a:xfrm>
            <a:off x="856344" y="152400"/>
            <a:ext cx="7467600" cy="6400800"/>
          </a:xfrm>
          <a:prstGeom prst="donut">
            <a:avLst/>
          </a:prstGeom>
          <a:solidFill>
            <a:srgbClr val="0070C0"/>
          </a:solidFill>
          <a:ln>
            <a:solidFill>
              <a:srgbClr val="0070C0"/>
            </a:solidFill>
          </a:ln>
          <a:scene3d>
            <a:camera prst="perspectiveRelaxed"/>
            <a:lightRig rig="freezing" dir="t"/>
          </a:scene3d>
          <a:sp3d extrusionH="317500" contourW="12700" prstMaterial="metal">
            <a:extrusionClr>
              <a:srgbClr val="002060"/>
            </a:extrusionClr>
            <a:contourClr>
              <a:srgbClr val="002060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7" name="Picture 5" descr="http://ali-hart.com/wp-content/uploads/2011/06/people.jpg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80971" y="2314187"/>
            <a:ext cx="1911530" cy="1319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15" name="Straight Connector 14"/>
          <p:cNvCxnSpPr/>
          <p:nvPr/>
        </p:nvCxnSpPr>
        <p:spPr>
          <a:xfrm>
            <a:off x="4495800" y="4466772"/>
            <a:ext cx="0" cy="13716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841830" y="3472542"/>
            <a:ext cx="158205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H="1">
            <a:off x="2928264" y="4376058"/>
            <a:ext cx="656772" cy="12192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1219200" y="3933372"/>
            <a:ext cx="1447800" cy="762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3430482" y="1740932"/>
            <a:ext cx="379518" cy="73459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 flipH="1" flipV="1">
            <a:off x="1719943" y="2314188"/>
            <a:ext cx="1019628" cy="6015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H="1">
            <a:off x="5500916" y="1740932"/>
            <a:ext cx="459011" cy="76278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 flipH="1">
            <a:off x="6433464" y="2379242"/>
            <a:ext cx="1033140" cy="50184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 flipH="1" flipV="1">
            <a:off x="6324603" y="4056744"/>
            <a:ext cx="1509486" cy="76200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/>
          <p:nvPr/>
        </p:nvCxnSpPr>
        <p:spPr>
          <a:xfrm>
            <a:off x="5562600" y="4376058"/>
            <a:ext cx="685800" cy="119017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 flipH="1" flipV="1">
            <a:off x="6741888" y="3519715"/>
            <a:ext cx="1582056" cy="4101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>
          <a:xfrm>
            <a:off x="2895600" y="5998810"/>
            <a:ext cx="3485244" cy="369332"/>
          </a:xfrm>
          <a:prstGeom prst="rect">
            <a:avLst/>
          </a:prstGeom>
          <a:noFill/>
        </p:spPr>
        <p:txBody>
          <a:bodyPr wrap="none" rtlCol="0">
            <a:prstTxWarp prst="textArchDown">
              <a:avLst/>
            </a:prstTxWarp>
            <a:spAutoFit/>
          </a:bodyPr>
          <a:lstStyle/>
          <a:p>
            <a:pPr algn="ctr"/>
            <a:r>
              <a:rPr lang="en-US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Talent Management</a:t>
            </a:r>
            <a:endParaRPr lang="en-US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2839356" y="1371600"/>
            <a:ext cx="3485244" cy="369332"/>
          </a:xfrm>
          <a:prstGeom prst="rect">
            <a:avLst/>
          </a:prstGeom>
          <a:noFill/>
        </p:spPr>
        <p:txBody>
          <a:bodyPr wrap="none" rtlCol="0">
            <a:prstTxWarp prst="textArchUp">
              <a:avLst/>
            </a:prstTxWarp>
            <a:spAutoFit/>
          </a:bodyPr>
          <a:lstStyle/>
          <a:p>
            <a:pPr algn="ctr"/>
            <a:r>
              <a:rPr lang="en-US" b="1" dirty="0" smtClean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erformance Management</a:t>
            </a:r>
            <a:endParaRPr lang="en-US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1329205" y="2580633"/>
            <a:ext cx="10044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Competence Development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2426034" y="1968580"/>
            <a:ext cx="10044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Objective Alignment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4095174" y="1663780"/>
            <a:ext cx="10044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Performance Evaluation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5905500" y="1979132"/>
            <a:ext cx="10044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Compensation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6787579" y="2733033"/>
            <a:ext cx="10044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Development Planning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964375" y="3633301"/>
            <a:ext cx="10044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Talent Acquisition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>
            <a:off x="5959927" y="4431660"/>
            <a:ext cx="10044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Talent Review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4688053" y="4833259"/>
            <a:ext cx="100444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Career Path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3430482" y="4741800"/>
            <a:ext cx="10044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Talent Engagement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113641" y="4217122"/>
            <a:ext cx="100444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Talent Rotation/ Global Mobility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145148" y="3560731"/>
            <a:ext cx="10044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Leadership Development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81000" y="85881"/>
            <a:ext cx="8305800" cy="523220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r>
              <a:rPr lang="en-US" sz="2800" b="1" dirty="0">
                <a:ln w="11430"/>
                <a:solidFill>
                  <a:srgbClr val="0070C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What makes performance management work</a:t>
            </a:r>
          </a:p>
        </p:txBody>
      </p:sp>
    </p:spTree>
    <p:extLst>
      <p:ext uri="{BB962C8B-B14F-4D97-AF65-F5344CB8AC3E}">
        <p14:creationId xmlns:p14="http://schemas.microsoft.com/office/powerpoint/2010/main" xmlns="" val="42788029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3911600" y="1371600"/>
            <a:ext cx="4178300" cy="2514600"/>
          </a:xfrm>
          <a:custGeom>
            <a:avLst/>
            <a:gdLst>
              <a:gd name="connsiteX0" fmla="*/ 0 w 4178300"/>
              <a:gd name="connsiteY0" fmla="*/ 0 h 2514600"/>
              <a:gd name="connsiteX1" fmla="*/ 4127500 w 4178300"/>
              <a:gd name="connsiteY1" fmla="*/ 215900 h 2514600"/>
              <a:gd name="connsiteX2" fmla="*/ 4178300 w 4178300"/>
              <a:gd name="connsiteY2" fmla="*/ 2514600 h 2514600"/>
              <a:gd name="connsiteX3" fmla="*/ 292100 w 4178300"/>
              <a:gd name="connsiteY3" fmla="*/ 2095500 h 2514600"/>
              <a:gd name="connsiteX4" fmla="*/ 0 w 4178300"/>
              <a:gd name="connsiteY4" fmla="*/ 0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178300" h="2514600">
                <a:moveTo>
                  <a:pt x="0" y="0"/>
                </a:moveTo>
                <a:lnTo>
                  <a:pt x="4127500" y="215900"/>
                </a:lnTo>
                <a:lnTo>
                  <a:pt x="4178300" y="2514600"/>
                </a:lnTo>
                <a:lnTo>
                  <a:pt x="292100" y="2095500"/>
                </a:lnTo>
                <a:lnTo>
                  <a:pt x="0" y="0"/>
                </a:lnTo>
                <a:close/>
              </a:path>
            </a:pathLst>
          </a:custGeom>
          <a:solidFill>
            <a:srgbClr val="002060"/>
          </a:solidFill>
          <a:ln>
            <a:solidFill>
              <a:srgbClr val="0070C0"/>
            </a:solidFill>
          </a:ln>
          <a:scene3d>
            <a:camera prst="orthographicFront"/>
            <a:lightRig rig="threePt" dir="t"/>
          </a:scene3d>
          <a:sp3d extrusionH="317500" contourW="88900" prstMaterial="metal">
            <a:extrusionClr>
              <a:schemeClr val="accent6">
                <a:lumMod val="50000"/>
              </a:schemeClr>
            </a:extrusionClr>
            <a:contourClr>
              <a:schemeClr val="accent6">
                <a:lumMod val="50000"/>
              </a:schemeClr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Freeform 43"/>
          <p:cNvSpPr/>
          <p:nvPr/>
        </p:nvSpPr>
        <p:spPr>
          <a:xfrm>
            <a:off x="4851400" y="5337219"/>
            <a:ext cx="1870812" cy="1063625"/>
          </a:xfrm>
          <a:custGeom>
            <a:avLst/>
            <a:gdLst>
              <a:gd name="connsiteX0" fmla="*/ 0 w 6197600"/>
              <a:gd name="connsiteY0" fmla="*/ 1422400 h 2705100"/>
              <a:gd name="connsiteX1" fmla="*/ 2171700 w 6197600"/>
              <a:gd name="connsiteY1" fmla="*/ 0 h 2705100"/>
              <a:gd name="connsiteX2" fmla="*/ 6197600 w 6197600"/>
              <a:gd name="connsiteY2" fmla="*/ 711200 h 2705100"/>
              <a:gd name="connsiteX3" fmla="*/ 4521200 w 6197600"/>
              <a:gd name="connsiteY3" fmla="*/ 2705100 h 2705100"/>
              <a:gd name="connsiteX4" fmla="*/ 0 w 6197600"/>
              <a:gd name="connsiteY4" fmla="*/ 1422400 h 270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7600" h="2705100">
                <a:moveTo>
                  <a:pt x="0" y="1422400"/>
                </a:moveTo>
                <a:lnTo>
                  <a:pt x="2171700" y="0"/>
                </a:lnTo>
                <a:lnTo>
                  <a:pt x="6197600" y="711200"/>
                </a:lnTo>
                <a:lnTo>
                  <a:pt x="4521200" y="2705100"/>
                </a:lnTo>
                <a:lnTo>
                  <a:pt x="0" y="1422400"/>
                </a:lnTo>
                <a:close/>
              </a:path>
            </a:pathLst>
          </a:custGeom>
          <a:solidFill>
            <a:srgbClr val="002060"/>
          </a:solidFill>
          <a:scene3d>
            <a:camera prst="perspectiveRelaxed"/>
            <a:lightRig rig="freezing" dir="t"/>
          </a:scene3d>
          <a:sp3d extrusionH="203200" prstMaterial="dkEdge">
            <a:bevelT/>
            <a:extrusionClr>
              <a:srgbClr val="F43E0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3" name="Freeform 42"/>
          <p:cNvSpPr/>
          <p:nvPr/>
        </p:nvSpPr>
        <p:spPr>
          <a:xfrm>
            <a:off x="3657600" y="5129256"/>
            <a:ext cx="1870812" cy="1063625"/>
          </a:xfrm>
          <a:custGeom>
            <a:avLst/>
            <a:gdLst>
              <a:gd name="connsiteX0" fmla="*/ 0 w 6197600"/>
              <a:gd name="connsiteY0" fmla="*/ 1422400 h 2705100"/>
              <a:gd name="connsiteX1" fmla="*/ 2171700 w 6197600"/>
              <a:gd name="connsiteY1" fmla="*/ 0 h 2705100"/>
              <a:gd name="connsiteX2" fmla="*/ 6197600 w 6197600"/>
              <a:gd name="connsiteY2" fmla="*/ 711200 h 2705100"/>
              <a:gd name="connsiteX3" fmla="*/ 4521200 w 6197600"/>
              <a:gd name="connsiteY3" fmla="*/ 2705100 h 2705100"/>
              <a:gd name="connsiteX4" fmla="*/ 0 w 6197600"/>
              <a:gd name="connsiteY4" fmla="*/ 1422400 h 270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7600" h="2705100">
                <a:moveTo>
                  <a:pt x="0" y="1422400"/>
                </a:moveTo>
                <a:lnTo>
                  <a:pt x="2171700" y="0"/>
                </a:lnTo>
                <a:lnTo>
                  <a:pt x="6197600" y="711200"/>
                </a:lnTo>
                <a:lnTo>
                  <a:pt x="4521200" y="2705100"/>
                </a:lnTo>
                <a:lnTo>
                  <a:pt x="0" y="1422400"/>
                </a:lnTo>
                <a:close/>
              </a:path>
            </a:pathLst>
          </a:custGeom>
          <a:solidFill>
            <a:srgbClr val="002060"/>
          </a:solidFill>
          <a:scene3d>
            <a:camera prst="perspectiveRelaxed"/>
            <a:lightRig rig="freezing" dir="t"/>
          </a:scene3d>
          <a:sp3d extrusionH="203200" prstMaterial="dkEdge">
            <a:bevelT/>
            <a:extrusionClr>
              <a:srgbClr val="F43E0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2" name="Freeform 41"/>
          <p:cNvSpPr/>
          <p:nvPr/>
        </p:nvSpPr>
        <p:spPr>
          <a:xfrm>
            <a:off x="785724" y="4518025"/>
            <a:ext cx="3839058" cy="1638300"/>
          </a:xfrm>
          <a:custGeom>
            <a:avLst/>
            <a:gdLst>
              <a:gd name="connsiteX0" fmla="*/ 0 w 6197600"/>
              <a:gd name="connsiteY0" fmla="*/ 1422400 h 2705100"/>
              <a:gd name="connsiteX1" fmla="*/ 2171700 w 6197600"/>
              <a:gd name="connsiteY1" fmla="*/ 0 h 2705100"/>
              <a:gd name="connsiteX2" fmla="*/ 6197600 w 6197600"/>
              <a:gd name="connsiteY2" fmla="*/ 711200 h 2705100"/>
              <a:gd name="connsiteX3" fmla="*/ 4521200 w 6197600"/>
              <a:gd name="connsiteY3" fmla="*/ 2705100 h 2705100"/>
              <a:gd name="connsiteX4" fmla="*/ 0 w 6197600"/>
              <a:gd name="connsiteY4" fmla="*/ 1422400 h 270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7600" h="2705100">
                <a:moveTo>
                  <a:pt x="0" y="1422400"/>
                </a:moveTo>
                <a:lnTo>
                  <a:pt x="2171700" y="0"/>
                </a:lnTo>
                <a:lnTo>
                  <a:pt x="6197600" y="711200"/>
                </a:lnTo>
                <a:lnTo>
                  <a:pt x="4521200" y="2705100"/>
                </a:lnTo>
                <a:lnTo>
                  <a:pt x="0" y="1422400"/>
                </a:lnTo>
                <a:close/>
              </a:path>
            </a:pathLst>
          </a:custGeom>
          <a:solidFill>
            <a:srgbClr val="002060"/>
          </a:solidFill>
          <a:scene3d>
            <a:camera prst="perspectiveRelaxed"/>
            <a:lightRig rig="freezing" dir="t"/>
          </a:scene3d>
          <a:sp3d extrusionH="203200" prstMaterial="dkEdge">
            <a:bevelT/>
            <a:extrusionClr>
              <a:srgbClr val="F43E0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 rot="21231118">
            <a:off x="1444895" y="1488635"/>
            <a:ext cx="3044593" cy="2416104"/>
          </a:xfrm>
          <a:prstGeom prst="rect">
            <a:avLst/>
          </a:prstGeom>
          <a:solidFill>
            <a:srgbClr val="FFFFFF">
              <a:shade val="85000"/>
            </a:srgbClr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36195" dist="12700" dir="11400000" algn="tl" rotWithShape="0">
              <a:srgbClr val="000000">
                <a:alpha val="33000"/>
              </a:srgbClr>
            </a:outerShdw>
          </a:effectLst>
          <a:scene3d>
            <a:camera prst="perspectiveHeroicExtremeRightFacing"/>
            <a:lightRig rig="freezing" dir="t"/>
          </a:scene3d>
          <a:sp3d extrusionH="203200">
            <a:bevelT w="12700" h="50800"/>
            <a:extrusionClr>
              <a:srgbClr val="F43E01"/>
            </a:extrusionClr>
            <a:contourClr>
              <a:srgbClr val="C0C0C0"/>
            </a:contourClr>
          </a:sp3d>
          <a:extLst/>
        </p:spPr>
      </p:pic>
      <p:sp>
        <p:nvSpPr>
          <p:cNvPr id="10" name="Freeform 9"/>
          <p:cNvSpPr/>
          <p:nvPr/>
        </p:nvSpPr>
        <p:spPr>
          <a:xfrm>
            <a:off x="1828800" y="3260725"/>
            <a:ext cx="6400800" cy="2819400"/>
          </a:xfrm>
          <a:custGeom>
            <a:avLst/>
            <a:gdLst>
              <a:gd name="connsiteX0" fmla="*/ 0 w 6197600"/>
              <a:gd name="connsiteY0" fmla="*/ 1422400 h 2705100"/>
              <a:gd name="connsiteX1" fmla="*/ 2171700 w 6197600"/>
              <a:gd name="connsiteY1" fmla="*/ 0 h 2705100"/>
              <a:gd name="connsiteX2" fmla="*/ 6197600 w 6197600"/>
              <a:gd name="connsiteY2" fmla="*/ 711200 h 2705100"/>
              <a:gd name="connsiteX3" fmla="*/ 4521200 w 6197600"/>
              <a:gd name="connsiteY3" fmla="*/ 2705100 h 2705100"/>
              <a:gd name="connsiteX4" fmla="*/ 0 w 6197600"/>
              <a:gd name="connsiteY4" fmla="*/ 1422400 h 270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7600" h="2705100">
                <a:moveTo>
                  <a:pt x="0" y="1422400"/>
                </a:moveTo>
                <a:lnTo>
                  <a:pt x="2171700" y="0"/>
                </a:lnTo>
                <a:lnTo>
                  <a:pt x="6197600" y="711200"/>
                </a:lnTo>
                <a:lnTo>
                  <a:pt x="4521200" y="2705100"/>
                </a:lnTo>
                <a:lnTo>
                  <a:pt x="0" y="1422400"/>
                </a:lnTo>
                <a:close/>
              </a:path>
            </a:pathLst>
          </a:custGeom>
          <a:scene3d>
            <a:camera prst="perspectiveRelaxed"/>
            <a:lightRig rig="freezing" dir="t"/>
          </a:scene3d>
          <a:sp3d extrusionH="203200" prstMaterial="dkEdge">
            <a:bevelT/>
            <a:extrusionClr>
              <a:srgbClr val="F43E0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1816100" y="3032125"/>
            <a:ext cx="6400800" cy="2819400"/>
          </a:xfrm>
          <a:custGeom>
            <a:avLst/>
            <a:gdLst>
              <a:gd name="connsiteX0" fmla="*/ 0 w 6197600"/>
              <a:gd name="connsiteY0" fmla="*/ 1422400 h 2705100"/>
              <a:gd name="connsiteX1" fmla="*/ 2171700 w 6197600"/>
              <a:gd name="connsiteY1" fmla="*/ 0 h 2705100"/>
              <a:gd name="connsiteX2" fmla="*/ 6197600 w 6197600"/>
              <a:gd name="connsiteY2" fmla="*/ 711200 h 2705100"/>
              <a:gd name="connsiteX3" fmla="*/ 4521200 w 6197600"/>
              <a:gd name="connsiteY3" fmla="*/ 2705100 h 2705100"/>
              <a:gd name="connsiteX4" fmla="*/ 0 w 6197600"/>
              <a:gd name="connsiteY4" fmla="*/ 1422400 h 270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7600" h="2705100">
                <a:moveTo>
                  <a:pt x="0" y="1422400"/>
                </a:moveTo>
                <a:lnTo>
                  <a:pt x="2171700" y="0"/>
                </a:lnTo>
                <a:lnTo>
                  <a:pt x="6197600" y="711200"/>
                </a:lnTo>
                <a:lnTo>
                  <a:pt x="4521200" y="2705100"/>
                </a:lnTo>
                <a:lnTo>
                  <a:pt x="0" y="1422400"/>
                </a:lnTo>
                <a:close/>
              </a:path>
            </a:pathLst>
          </a:custGeom>
          <a:scene3d>
            <a:camera prst="perspectiveRelaxed"/>
            <a:lightRig rig="freezing" dir="t"/>
          </a:scene3d>
          <a:sp3d extrusionH="203200" prstMaterial="dkEdge">
            <a:bevelT/>
            <a:extrusionClr>
              <a:srgbClr val="F43E0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reeform 2"/>
          <p:cNvSpPr/>
          <p:nvPr/>
        </p:nvSpPr>
        <p:spPr>
          <a:xfrm>
            <a:off x="1792174" y="2828925"/>
            <a:ext cx="6400800" cy="2819400"/>
          </a:xfrm>
          <a:custGeom>
            <a:avLst/>
            <a:gdLst>
              <a:gd name="connsiteX0" fmla="*/ 0 w 6197600"/>
              <a:gd name="connsiteY0" fmla="*/ 1422400 h 2705100"/>
              <a:gd name="connsiteX1" fmla="*/ 2171700 w 6197600"/>
              <a:gd name="connsiteY1" fmla="*/ 0 h 2705100"/>
              <a:gd name="connsiteX2" fmla="*/ 6197600 w 6197600"/>
              <a:gd name="connsiteY2" fmla="*/ 711200 h 2705100"/>
              <a:gd name="connsiteX3" fmla="*/ 4521200 w 6197600"/>
              <a:gd name="connsiteY3" fmla="*/ 2705100 h 2705100"/>
              <a:gd name="connsiteX4" fmla="*/ 0 w 6197600"/>
              <a:gd name="connsiteY4" fmla="*/ 1422400 h 2705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7600" h="2705100">
                <a:moveTo>
                  <a:pt x="0" y="1422400"/>
                </a:moveTo>
                <a:lnTo>
                  <a:pt x="2171700" y="0"/>
                </a:lnTo>
                <a:lnTo>
                  <a:pt x="6197600" y="711200"/>
                </a:lnTo>
                <a:lnTo>
                  <a:pt x="4521200" y="2705100"/>
                </a:lnTo>
                <a:lnTo>
                  <a:pt x="0" y="1422400"/>
                </a:lnTo>
                <a:close/>
              </a:path>
            </a:pathLst>
          </a:custGeom>
          <a:solidFill>
            <a:srgbClr val="002060"/>
          </a:solidFill>
          <a:scene3d>
            <a:camera prst="perspectiveRelaxed"/>
            <a:lightRig rig="freezing" dir="t"/>
          </a:scene3d>
          <a:sp3d extrusionH="203200" prstMaterial="dkEdge">
            <a:bevelT/>
            <a:extrusionClr>
              <a:srgbClr val="F43E01"/>
            </a:extrusion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7" name="Picture 6" descr="http://aux.iconpedia.net/uploads/132059816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127713" y="5298840"/>
            <a:ext cx="698287" cy="51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6" descr="http://aux.iconpedia.net/uploads/132059816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437690" y="4975225"/>
            <a:ext cx="982776" cy="72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" descr="http://aux.iconpedia.net/uploads/132059816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37412" y="4708526"/>
            <a:ext cx="982776" cy="723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6" descr="http://aux.iconpedia.net/uploads/132059816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8665" y="5405482"/>
            <a:ext cx="698287" cy="51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" descr="http://aux.iconpedia.net/uploads/132059816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25861" y="5570022"/>
            <a:ext cx="698287" cy="51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" descr="http://aux.iconpedia.net/uploads/132059816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86806" y="5676664"/>
            <a:ext cx="698287" cy="51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7" name="Straight Connector 36"/>
          <p:cNvCxnSpPr/>
          <p:nvPr/>
        </p:nvCxnSpPr>
        <p:spPr>
          <a:xfrm flipH="1">
            <a:off x="2917782" y="4357996"/>
            <a:ext cx="152400" cy="622300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/>
        </p:nvCxnSpPr>
        <p:spPr>
          <a:xfrm>
            <a:off x="3070182" y="4358018"/>
            <a:ext cx="1501818" cy="246311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>
            <a:endCxn id="17" idx="0"/>
          </p:cNvCxnSpPr>
          <p:nvPr/>
        </p:nvCxnSpPr>
        <p:spPr>
          <a:xfrm flipH="1">
            <a:off x="4476858" y="4604329"/>
            <a:ext cx="116149" cy="694511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endCxn id="45" idx="0"/>
          </p:cNvCxnSpPr>
          <p:nvPr/>
        </p:nvCxnSpPr>
        <p:spPr>
          <a:xfrm>
            <a:off x="4593017" y="4604329"/>
            <a:ext cx="344803" cy="801153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endCxn id="46" idx="0"/>
          </p:cNvCxnSpPr>
          <p:nvPr/>
        </p:nvCxnSpPr>
        <p:spPr>
          <a:xfrm flipH="1">
            <a:off x="5675016" y="4980296"/>
            <a:ext cx="16295" cy="589704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endCxn id="47" idx="0"/>
          </p:cNvCxnSpPr>
          <p:nvPr/>
        </p:nvCxnSpPr>
        <p:spPr>
          <a:xfrm>
            <a:off x="5691300" y="5004905"/>
            <a:ext cx="444650" cy="671759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/>
        </p:nvCxnSpPr>
        <p:spPr>
          <a:xfrm>
            <a:off x="4593006" y="4604329"/>
            <a:ext cx="1098294" cy="375989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2590811" y="5239747"/>
            <a:ext cx="609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2060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SAP</a:t>
            </a:r>
            <a:endParaRPr lang="en-US" sz="1400" dirty="0">
              <a:solidFill>
                <a:srgbClr val="002060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487384" y="4943627"/>
            <a:ext cx="609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002060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SF</a:t>
            </a:r>
            <a:endParaRPr lang="en-US" sz="1400" dirty="0">
              <a:solidFill>
                <a:srgbClr val="002060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pic>
        <p:nvPicPr>
          <p:cNvPr id="3080" name="Picture 8" descr="http://www.atozhrservices.com/images/Human-Resource.jp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33811" y="2514047"/>
            <a:ext cx="2615949" cy="3124761"/>
          </a:xfrm>
          <a:prstGeom prst="rect">
            <a:avLst/>
          </a:prstGeom>
          <a:noFill/>
          <a:scene3d>
            <a:camera prst="isometricOffAxis2Top"/>
            <a:lightRig rig="threePt" dir="t"/>
          </a:scene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2" descr="Planet Gear (gif 1.6 MB)"/>
          <p:cNvPicPr>
            <a:picLocks noChangeAspect="1" noChangeArrowheads="1" noCrop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1091596">
            <a:off x="4195719" y="3779343"/>
            <a:ext cx="1683366" cy="538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8" name="Straight Connector 37"/>
          <p:cNvCxnSpPr/>
          <p:nvPr/>
        </p:nvCxnSpPr>
        <p:spPr>
          <a:xfrm flipV="1">
            <a:off x="3070186" y="3962402"/>
            <a:ext cx="1922392" cy="395597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0" name="Picture 4" descr="http://www.cap-ny153.org/Animated%20Compass.gif"/>
          <p:cNvPicPr>
            <a:picLocks noChangeAspect="1" noChangeArrowheads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992578" y="1726600"/>
            <a:ext cx="1778880" cy="17788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Freeform 3"/>
          <p:cNvSpPr/>
          <p:nvPr/>
        </p:nvSpPr>
        <p:spPr>
          <a:xfrm>
            <a:off x="1306286" y="1332548"/>
            <a:ext cx="2888343" cy="2978195"/>
          </a:xfrm>
          <a:custGeom>
            <a:avLst/>
            <a:gdLst>
              <a:gd name="connsiteX0" fmla="*/ 0 w 2888343"/>
              <a:gd name="connsiteY0" fmla="*/ 362857 h 2989943"/>
              <a:gd name="connsiteX1" fmla="*/ 2612571 w 2888343"/>
              <a:gd name="connsiteY1" fmla="*/ 0 h 2989943"/>
              <a:gd name="connsiteX2" fmla="*/ 2888343 w 2888343"/>
              <a:gd name="connsiteY2" fmla="*/ 2133600 h 2989943"/>
              <a:gd name="connsiteX3" fmla="*/ 478971 w 2888343"/>
              <a:gd name="connsiteY3" fmla="*/ 2989943 h 2989943"/>
              <a:gd name="connsiteX4" fmla="*/ 0 w 2888343"/>
              <a:gd name="connsiteY4" fmla="*/ 362857 h 2989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88343" h="2989943">
                <a:moveTo>
                  <a:pt x="0" y="362857"/>
                </a:moveTo>
                <a:lnTo>
                  <a:pt x="2612571" y="0"/>
                </a:lnTo>
                <a:lnTo>
                  <a:pt x="2888343" y="2133600"/>
                </a:lnTo>
                <a:lnTo>
                  <a:pt x="478971" y="2989943"/>
                </a:lnTo>
                <a:lnTo>
                  <a:pt x="0" y="362857"/>
                </a:lnTo>
                <a:close/>
              </a:path>
            </a:pathLst>
          </a:custGeom>
          <a:solidFill>
            <a:srgbClr val="001548"/>
          </a:solidFill>
          <a:ln>
            <a:solidFill>
              <a:srgbClr val="D637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1" name="Picture 2" descr="https://indiapayroll.kpitcummins.com/KpitMyAscentPayroll/Pages/images/Login/employees.jpg"/>
          <p:cNvPicPr>
            <a:picLocks noChangeAspect="1" noChangeArrowheads="1"/>
          </p:cNvPicPr>
          <p:nvPr/>
        </p:nvPicPr>
        <p:blipFill>
          <a:blip r:embed="rId9" cstate="print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21178278">
            <a:off x="1451837" y="1630761"/>
            <a:ext cx="2610043" cy="1737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2" name="Straight Connector 31"/>
          <p:cNvCxnSpPr/>
          <p:nvPr/>
        </p:nvCxnSpPr>
        <p:spPr>
          <a:xfrm flipV="1">
            <a:off x="1981200" y="3962400"/>
            <a:ext cx="2956608" cy="123826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endCxn id="36" idx="0"/>
          </p:cNvCxnSpPr>
          <p:nvPr/>
        </p:nvCxnSpPr>
        <p:spPr>
          <a:xfrm flipH="1">
            <a:off x="1828800" y="4086226"/>
            <a:ext cx="152400" cy="622300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 rot="21228041">
            <a:off x="1694056" y="1539803"/>
            <a:ext cx="149315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Resourcing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 rot="21151054">
            <a:off x="2996731" y="1576191"/>
            <a:ext cx="100444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Talent Management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87" name="TextBox 86"/>
          <p:cNvSpPr txBox="1"/>
          <p:nvPr/>
        </p:nvSpPr>
        <p:spPr>
          <a:xfrm rot="21195599">
            <a:off x="2886674" y="3027268"/>
            <a:ext cx="116650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Performance Management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 rot="21133211">
            <a:off x="1608520" y="2896618"/>
            <a:ext cx="97692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1000" dirty="0" smtClean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  <a:p>
            <a:pPr algn="ctr"/>
            <a:r>
              <a:rPr lang="en-US" sz="1000" dirty="0" smtClean="0">
                <a:solidFill>
                  <a:schemeClr val="bg1"/>
                </a:solidFill>
                <a:effectLst>
                  <a:glow rad="139700">
                    <a:schemeClr val="accent1">
                      <a:satMod val="175000"/>
                      <a:alpha val="40000"/>
                    </a:schemeClr>
                  </a:glow>
                </a:effectLst>
                <a:latin typeface="MV Boli" pitchFamily="2" charset="0"/>
                <a:cs typeface="MV Boli" pitchFamily="2" charset="0"/>
              </a:rPr>
              <a:t>Payroll Management</a:t>
            </a:r>
            <a:endParaRPr lang="en-US" sz="1000" dirty="0">
              <a:solidFill>
                <a:schemeClr val="bg1"/>
              </a:solidFill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latin typeface="MV Boli" pitchFamily="2" charset="0"/>
              <a:cs typeface="MV Boli" pitchFamily="2" charset="0"/>
            </a:endParaRPr>
          </a:p>
        </p:txBody>
      </p:sp>
      <p:cxnSp>
        <p:nvCxnSpPr>
          <p:cNvPr id="130" name="Straight Connector 129"/>
          <p:cNvCxnSpPr/>
          <p:nvPr/>
        </p:nvCxnSpPr>
        <p:spPr>
          <a:xfrm flipH="1">
            <a:off x="5039414" y="2628900"/>
            <a:ext cx="842604" cy="1333522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>
            <a:off x="2858195" y="2696687"/>
            <a:ext cx="2183591" cy="1265735"/>
          </a:xfrm>
          <a:prstGeom prst="line">
            <a:avLst/>
          </a:prstGeom>
          <a:ln w="12700">
            <a:solidFill>
              <a:schemeClr val="bg1"/>
            </a:solidFill>
          </a:ln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ectangle 54"/>
          <p:cNvSpPr/>
          <p:nvPr/>
        </p:nvSpPr>
        <p:spPr>
          <a:xfrm>
            <a:off x="-10581" y="3076"/>
            <a:ext cx="9165162" cy="954107"/>
          </a:xfrm>
          <a:prstGeom prst="rect">
            <a:avLst/>
          </a:prstGeom>
        </p:spPr>
        <p:txBody>
          <a:bodyPr wrap="square">
            <a:spAutoFit/>
            <a:scene3d>
              <a:camera prst="orthographicFront"/>
              <a:lightRig rig="threePt" dir="t"/>
            </a:scene3d>
            <a:sp3d extrusionH="57150">
              <a:bevelT w="38100" h="38100"/>
            </a:sp3d>
          </a:bodyPr>
          <a:lstStyle/>
          <a:p>
            <a:pPr algn="ctr"/>
            <a:r>
              <a:rPr lang="en-US" sz="2800" b="1" dirty="0">
                <a:ln w="11430"/>
                <a:solidFill>
                  <a:srgbClr val="0070C0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Effective Business Performance Management, Performance Measurement</a:t>
            </a:r>
          </a:p>
        </p:txBody>
      </p:sp>
    </p:spTree>
    <p:extLst>
      <p:ext uri="{BB962C8B-B14F-4D97-AF65-F5344CB8AC3E}">
        <p14:creationId xmlns:p14="http://schemas.microsoft.com/office/powerpoint/2010/main" xmlns="" val="30161631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" descr="http://www.theunlocker.co.uk/wallpapers/240x320/Brands/11357.gif"/>
          <p:cNvPicPr>
            <a:picLocks noChangeAspect="1" noChangeArrowheads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7962" y="12510"/>
            <a:ext cx="9151961" cy="68454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3276600" y="2787931"/>
            <a:ext cx="3022600" cy="707880"/>
          </a:xfrm>
          <a:prstGeom prst="rect">
            <a:avLst/>
          </a:prstGeom>
        </p:spPr>
        <p:txBody>
          <a:bodyPr wrap="square" lIns="91435" tIns="45717" rIns="91435" bIns="45717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/>
          <a:p>
            <a:pPr algn="ctr"/>
            <a:r>
              <a:rPr lang="en-US" sz="4000" b="1" dirty="0" smtClean="0">
                <a:ln w="11430"/>
                <a:solidFill>
                  <a:srgbClr val="E46C0A"/>
                </a:soli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</a:effectLst>
              </a:rPr>
              <a:t>Thank you</a:t>
            </a:r>
            <a:endParaRPr lang="en-US" sz="4000" b="1" dirty="0">
              <a:ln w="11430"/>
              <a:solidFill>
                <a:srgbClr val="E46C0A"/>
              </a:soli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901017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lNkAJLckGnHbyNcOcU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RXSCyRQku201MpgfQPs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EbPsNPKkOznbwMZWbNh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5eEpwRpQ0iiV8zCitP9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1_BLANK">
  <a:themeElements>
    <a:clrScheme name="BLANK 1">
      <a:dk1>
        <a:srgbClr val="000000"/>
      </a:dk1>
      <a:lt1>
        <a:srgbClr val="FFFFFF"/>
      </a:lt1>
      <a:dk2>
        <a:srgbClr val="0033CC"/>
      </a:dk2>
      <a:lt2>
        <a:srgbClr val="808080"/>
      </a:lt2>
      <a:accent1>
        <a:srgbClr val="040477"/>
      </a:accent1>
      <a:accent2>
        <a:srgbClr val="AFD4F0"/>
      </a:accent2>
      <a:accent3>
        <a:srgbClr val="FFFFFF"/>
      </a:accent3>
      <a:accent4>
        <a:srgbClr val="000000"/>
      </a:accent4>
      <a:accent5>
        <a:srgbClr val="AAAABD"/>
      </a:accent5>
      <a:accent6>
        <a:srgbClr val="9EC0D9"/>
      </a:accent6>
      <a:hlink>
        <a:srgbClr val="44A51C"/>
      </a:hlink>
      <a:folHlink>
        <a:srgbClr val="F9F206"/>
      </a:folHlink>
    </a:clrScheme>
    <a:fontScheme name="BLANK">
      <a:majorFont>
        <a:latin typeface="Nokia Large"/>
        <a:ea typeface=""/>
        <a:cs typeface=""/>
      </a:majorFont>
      <a:minorFont>
        <a:latin typeface="Nokia Sans Wi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7_BLANK">
  <a:themeElements>
    <a:clrScheme name="BLANK 1">
      <a:dk1>
        <a:srgbClr val="000000"/>
      </a:dk1>
      <a:lt1>
        <a:srgbClr val="FFFFFF"/>
      </a:lt1>
      <a:dk2>
        <a:srgbClr val="0033CC"/>
      </a:dk2>
      <a:lt2>
        <a:srgbClr val="808080"/>
      </a:lt2>
      <a:accent1>
        <a:srgbClr val="040477"/>
      </a:accent1>
      <a:accent2>
        <a:srgbClr val="AFD4F0"/>
      </a:accent2>
      <a:accent3>
        <a:srgbClr val="FFFFFF"/>
      </a:accent3>
      <a:accent4>
        <a:srgbClr val="000000"/>
      </a:accent4>
      <a:accent5>
        <a:srgbClr val="AAAABD"/>
      </a:accent5>
      <a:accent6>
        <a:srgbClr val="9EC0D9"/>
      </a:accent6>
      <a:hlink>
        <a:srgbClr val="44A51C"/>
      </a:hlink>
      <a:folHlink>
        <a:srgbClr val="F9F206"/>
      </a:folHlink>
    </a:clrScheme>
    <a:fontScheme name="BLANK">
      <a:majorFont>
        <a:latin typeface="Nokia Large"/>
        <a:ea typeface=""/>
        <a:cs typeface=""/>
      </a:majorFont>
      <a:minorFont>
        <a:latin typeface="Nokia Sans Wi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8_BLANK">
  <a:themeElements>
    <a:clrScheme name="BLANK 1">
      <a:dk1>
        <a:srgbClr val="000000"/>
      </a:dk1>
      <a:lt1>
        <a:srgbClr val="FFFFFF"/>
      </a:lt1>
      <a:dk2>
        <a:srgbClr val="0033CC"/>
      </a:dk2>
      <a:lt2>
        <a:srgbClr val="808080"/>
      </a:lt2>
      <a:accent1>
        <a:srgbClr val="040477"/>
      </a:accent1>
      <a:accent2>
        <a:srgbClr val="AFD4F0"/>
      </a:accent2>
      <a:accent3>
        <a:srgbClr val="FFFFFF"/>
      </a:accent3>
      <a:accent4>
        <a:srgbClr val="000000"/>
      </a:accent4>
      <a:accent5>
        <a:srgbClr val="AAAABD"/>
      </a:accent5>
      <a:accent6>
        <a:srgbClr val="9EC0D9"/>
      </a:accent6>
      <a:hlink>
        <a:srgbClr val="44A51C"/>
      </a:hlink>
      <a:folHlink>
        <a:srgbClr val="F9F206"/>
      </a:folHlink>
    </a:clrScheme>
    <a:fontScheme name="BLANK">
      <a:majorFont>
        <a:latin typeface="Nokia Large"/>
        <a:ea typeface=""/>
        <a:cs typeface=""/>
      </a:majorFont>
      <a:minorFont>
        <a:latin typeface="Nokia Sans Wi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9_BLANK">
  <a:themeElements>
    <a:clrScheme name="BLANK 1">
      <a:dk1>
        <a:srgbClr val="000000"/>
      </a:dk1>
      <a:lt1>
        <a:srgbClr val="FFFFFF"/>
      </a:lt1>
      <a:dk2>
        <a:srgbClr val="0033CC"/>
      </a:dk2>
      <a:lt2>
        <a:srgbClr val="808080"/>
      </a:lt2>
      <a:accent1>
        <a:srgbClr val="040477"/>
      </a:accent1>
      <a:accent2>
        <a:srgbClr val="AFD4F0"/>
      </a:accent2>
      <a:accent3>
        <a:srgbClr val="FFFFFF"/>
      </a:accent3>
      <a:accent4>
        <a:srgbClr val="000000"/>
      </a:accent4>
      <a:accent5>
        <a:srgbClr val="AAAABD"/>
      </a:accent5>
      <a:accent6>
        <a:srgbClr val="9EC0D9"/>
      </a:accent6>
      <a:hlink>
        <a:srgbClr val="44A51C"/>
      </a:hlink>
      <a:folHlink>
        <a:srgbClr val="F9F206"/>
      </a:folHlink>
    </a:clrScheme>
    <a:fontScheme name="BLANK">
      <a:majorFont>
        <a:latin typeface="Nokia Large"/>
        <a:ea typeface=""/>
        <a:cs typeface=""/>
      </a:majorFont>
      <a:minorFont>
        <a:latin typeface="Nokia Sans Wi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0_BLANK">
  <a:themeElements>
    <a:clrScheme name="BLANK 1">
      <a:dk1>
        <a:srgbClr val="000000"/>
      </a:dk1>
      <a:lt1>
        <a:srgbClr val="FFFFFF"/>
      </a:lt1>
      <a:dk2>
        <a:srgbClr val="0033CC"/>
      </a:dk2>
      <a:lt2>
        <a:srgbClr val="808080"/>
      </a:lt2>
      <a:accent1>
        <a:srgbClr val="040477"/>
      </a:accent1>
      <a:accent2>
        <a:srgbClr val="AFD4F0"/>
      </a:accent2>
      <a:accent3>
        <a:srgbClr val="FFFFFF"/>
      </a:accent3>
      <a:accent4>
        <a:srgbClr val="000000"/>
      </a:accent4>
      <a:accent5>
        <a:srgbClr val="AAAABD"/>
      </a:accent5>
      <a:accent6>
        <a:srgbClr val="9EC0D9"/>
      </a:accent6>
      <a:hlink>
        <a:srgbClr val="44A51C"/>
      </a:hlink>
      <a:folHlink>
        <a:srgbClr val="F9F206"/>
      </a:folHlink>
    </a:clrScheme>
    <a:fontScheme name="BLANK">
      <a:majorFont>
        <a:latin typeface="Nokia Large"/>
        <a:ea typeface=""/>
        <a:cs typeface=""/>
      </a:majorFont>
      <a:minorFont>
        <a:latin typeface="Nokia Sans Wi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NOKIA_CF_NKG063">
  <a:themeElements>
    <a:clrScheme name="BLANK 1">
      <a:dk1>
        <a:srgbClr val="000000"/>
      </a:dk1>
      <a:lt1>
        <a:srgbClr val="FFFFFF"/>
      </a:lt1>
      <a:dk2>
        <a:srgbClr val="0033CC"/>
      </a:dk2>
      <a:lt2>
        <a:srgbClr val="808080"/>
      </a:lt2>
      <a:accent1>
        <a:srgbClr val="040477"/>
      </a:accent1>
      <a:accent2>
        <a:srgbClr val="AFD4F0"/>
      </a:accent2>
      <a:accent3>
        <a:srgbClr val="FFFFFF"/>
      </a:accent3>
      <a:accent4>
        <a:srgbClr val="000000"/>
      </a:accent4>
      <a:accent5>
        <a:srgbClr val="AAAABD"/>
      </a:accent5>
      <a:accent6>
        <a:srgbClr val="9EC0D9"/>
      </a:accent6>
      <a:hlink>
        <a:srgbClr val="44A51C"/>
      </a:hlink>
      <a:folHlink>
        <a:srgbClr val="F9F206"/>
      </a:folHlink>
    </a:clrScheme>
    <a:fontScheme name="BLANK">
      <a:majorFont>
        <a:latin typeface="Nokia Large"/>
        <a:ea typeface=""/>
        <a:cs typeface=""/>
      </a:majorFont>
      <a:minorFont>
        <a:latin typeface="Nokia Sans Wi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rtlCol="0" anchor="ctr" anchorCtr="0" compatLnSpc="1">
        <a:prstTxWarp prst="textNoShape">
          <a:avLst/>
        </a:prstTxWarp>
        <a:no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lnDef>
    <a:txDef>
      <a:spPr bwMode="auto">
        <a:noFill/>
        <a:ln w="9525" algn="ctr">
          <a:noFill/>
          <a:miter lim="800000"/>
          <a:headEnd/>
          <a:tailEnd/>
        </a:ln>
      </a:spPr>
      <a:bodyPr wrap="square" lIns="90488" tIns="44450" rIns="90488" bIns="44450">
        <a:spAutoFit/>
      </a:bodyPr>
      <a:lstStyle>
        <a:defPPr defTabSz="762000">
          <a:defRPr sz="1200" b="0" dirty="0" smtClean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Nokia_Brand_examplepres_v1.0">
  <a:themeElements>
    <a:clrScheme name="Nokia_1">
      <a:dk1>
        <a:srgbClr val="124191"/>
      </a:dk1>
      <a:lt1>
        <a:srgbClr val="FFFFFF"/>
      </a:lt1>
      <a:dk2>
        <a:srgbClr val="646464"/>
      </a:dk2>
      <a:lt2>
        <a:srgbClr val="FFFFFF"/>
      </a:lt2>
      <a:accent1>
        <a:srgbClr val="2187B0"/>
      </a:accent1>
      <a:accent2>
        <a:srgbClr val="1F843E"/>
      </a:accent2>
      <a:accent3>
        <a:srgbClr val="E32C18"/>
      </a:accent3>
      <a:accent4>
        <a:srgbClr val="EB6312"/>
      </a:accent4>
      <a:accent5>
        <a:srgbClr val="4D2383"/>
      </a:accent5>
      <a:accent6>
        <a:srgbClr val="196FB0"/>
      </a:accent6>
      <a:hlink>
        <a:srgbClr val="66BFE2"/>
      </a:hlink>
      <a:folHlink>
        <a:srgbClr val="B592E1"/>
      </a:folHlink>
    </a:clrScheme>
    <a:fontScheme name="Nokia">
      <a:majorFont>
        <a:latin typeface="Nokia Pure Headline"/>
        <a:ea typeface=""/>
        <a:cs typeface=""/>
      </a:majorFont>
      <a:minorFont>
        <a:latin typeface="Nokia Pure Headlin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1_Custom Design">
  <a:themeElements>
    <a:clrScheme name="Nokia Corporate Colours 2011">
      <a:dk1>
        <a:srgbClr val="000000"/>
      </a:dk1>
      <a:lt1>
        <a:srgbClr val="FFFFFF"/>
      </a:lt1>
      <a:dk2>
        <a:srgbClr val="124191"/>
      </a:dk2>
      <a:lt2>
        <a:srgbClr val="808080"/>
      </a:lt2>
      <a:accent1>
        <a:srgbClr val="44A51C"/>
      </a:accent1>
      <a:accent2>
        <a:srgbClr val="040477"/>
      </a:accent2>
      <a:accent3>
        <a:srgbClr val="024C1C"/>
      </a:accent3>
      <a:accent4>
        <a:srgbClr val="E0DBCA"/>
      </a:accent4>
      <a:accent5>
        <a:srgbClr val="AFD4F0"/>
      </a:accent5>
      <a:accent6>
        <a:srgbClr val="F9F206"/>
      </a:accent6>
      <a:hlink>
        <a:srgbClr val="E40E62"/>
      </a:hlink>
      <a:folHlink>
        <a:srgbClr val="363534"/>
      </a:folHlink>
    </a:clrScheme>
    <a:fontScheme name="Custom Design">
      <a:majorFont>
        <a:latin typeface="Nokia Large"/>
        <a:ea typeface="ＭＳ Ｐゴシック"/>
        <a:cs typeface=""/>
      </a:majorFont>
      <a:minorFont>
        <a:latin typeface="Nokia Sans Wide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  <a:ea typeface="ＭＳ Ｐゴシック" pitchFamily="34" charset="-128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1_BLANK">
  <a:themeElements>
    <a:clrScheme name="BLANK 1">
      <a:dk1>
        <a:srgbClr val="000000"/>
      </a:dk1>
      <a:lt1>
        <a:srgbClr val="FFFFFF"/>
      </a:lt1>
      <a:dk2>
        <a:srgbClr val="0033CC"/>
      </a:dk2>
      <a:lt2>
        <a:srgbClr val="808080"/>
      </a:lt2>
      <a:accent1>
        <a:srgbClr val="040477"/>
      </a:accent1>
      <a:accent2>
        <a:srgbClr val="AFD4F0"/>
      </a:accent2>
      <a:accent3>
        <a:srgbClr val="FFFFFF"/>
      </a:accent3>
      <a:accent4>
        <a:srgbClr val="000000"/>
      </a:accent4>
      <a:accent5>
        <a:srgbClr val="AAAABD"/>
      </a:accent5>
      <a:accent6>
        <a:srgbClr val="9EC0D9"/>
      </a:accent6>
      <a:hlink>
        <a:srgbClr val="44A51C"/>
      </a:hlink>
      <a:folHlink>
        <a:srgbClr val="F9F206"/>
      </a:folHlink>
    </a:clrScheme>
    <a:fontScheme name="BLANK">
      <a:majorFont>
        <a:latin typeface="Nokia Large"/>
        <a:ea typeface=""/>
        <a:cs typeface=""/>
      </a:majorFont>
      <a:minorFont>
        <a:latin typeface="Nokia Sans Wi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>
            <a:lumMod val="75000"/>
          </a:schemeClr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rtlCol="0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BLANK">
  <a:themeElements>
    <a:clrScheme name="BLANK 1">
      <a:dk1>
        <a:srgbClr val="000000"/>
      </a:dk1>
      <a:lt1>
        <a:srgbClr val="FFFFFF"/>
      </a:lt1>
      <a:dk2>
        <a:srgbClr val="0033CC"/>
      </a:dk2>
      <a:lt2>
        <a:srgbClr val="808080"/>
      </a:lt2>
      <a:accent1>
        <a:srgbClr val="040477"/>
      </a:accent1>
      <a:accent2>
        <a:srgbClr val="AFD4F0"/>
      </a:accent2>
      <a:accent3>
        <a:srgbClr val="FFFFFF"/>
      </a:accent3>
      <a:accent4>
        <a:srgbClr val="000000"/>
      </a:accent4>
      <a:accent5>
        <a:srgbClr val="AAAABD"/>
      </a:accent5>
      <a:accent6>
        <a:srgbClr val="9EC0D9"/>
      </a:accent6>
      <a:hlink>
        <a:srgbClr val="44A51C"/>
      </a:hlink>
      <a:folHlink>
        <a:srgbClr val="F9F206"/>
      </a:folHlink>
    </a:clrScheme>
    <a:fontScheme name="BLANK">
      <a:majorFont>
        <a:latin typeface="Nokia Large"/>
        <a:ea typeface=""/>
        <a:cs typeface=""/>
      </a:majorFont>
      <a:minorFont>
        <a:latin typeface="Nokia Sans Wi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_Nokia_Brand_examplepres_v1.0">
  <a:themeElements>
    <a:clrScheme name="Nokia_1">
      <a:dk1>
        <a:srgbClr val="124191"/>
      </a:dk1>
      <a:lt1>
        <a:srgbClr val="FFFFFF"/>
      </a:lt1>
      <a:dk2>
        <a:srgbClr val="646464"/>
      </a:dk2>
      <a:lt2>
        <a:srgbClr val="FFFFFF"/>
      </a:lt2>
      <a:accent1>
        <a:srgbClr val="2187B0"/>
      </a:accent1>
      <a:accent2>
        <a:srgbClr val="1F843E"/>
      </a:accent2>
      <a:accent3>
        <a:srgbClr val="E32C18"/>
      </a:accent3>
      <a:accent4>
        <a:srgbClr val="EB6312"/>
      </a:accent4>
      <a:accent5>
        <a:srgbClr val="4D2383"/>
      </a:accent5>
      <a:accent6>
        <a:srgbClr val="196FB0"/>
      </a:accent6>
      <a:hlink>
        <a:srgbClr val="66BFE2"/>
      </a:hlink>
      <a:folHlink>
        <a:srgbClr val="B592E1"/>
      </a:folHlink>
    </a:clrScheme>
    <a:fontScheme name="Nokia">
      <a:majorFont>
        <a:latin typeface="Nokia Pure Headline"/>
        <a:ea typeface=""/>
        <a:cs typeface=""/>
      </a:majorFont>
      <a:minorFont>
        <a:latin typeface="Nokia Pure Headlin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0033CC"/>
      </a:dk2>
      <a:lt2>
        <a:srgbClr val="808080"/>
      </a:lt2>
      <a:accent1>
        <a:srgbClr val="040477"/>
      </a:accent1>
      <a:accent2>
        <a:srgbClr val="AFD4F0"/>
      </a:accent2>
      <a:accent3>
        <a:srgbClr val="FFFFFF"/>
      </a:accent3>
      <a:accent4>
        <a:srgbClr val="000000"/>
      </a:accent4>
      <a:accent5>
        <a:srgbClr val="AAAABD"/>
      </a:accent5>
      <a:accent6>
        <a:srgbClr val="9EC0D9"/>
      </a:accent6>
      <a:hlink>
        <a:srgbClr val="44A51C"/>
      </a:hlink>
      <a:folHlink>
        <a:srgbClr val="F9F206"/>
      </a:folHlink>
    </a:clrScheme>
    <a:fontScheme name="BLANK">
      <a:majorFont>
        <a:latin typeface="Nokia Large"/>
        <a:ea typeface=""/>
        <a:cs typeface=""/>
      </a:majorFont>
      <a:minorFont>
        <a:latin typeface="Nokia Sans Wi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0033CC"/>
      </a:dk2>
      <a:lt2>
        <a:srgbClr val="808080"/>
      </a:lt2>
      <a:accent1>
        <a:srgbClr val="040477"/>
      </a:accent1>
      <a:accent2>
        <a:srgbClr val="AFD4F0"/>
      </a:accent2>
      <a:accent3>
        <a:srgbClr val="FFFFFF"/>
      </a:accent3>
      <a:accent4>
        <a:srgbClr val="000000"/>
      </a:accent4>
      <a:accent5>
        <a:srgbClr val="AAAABD"/>
      </a:accent5>
      <a:accent6>
        <a:srgbClr val="9EC0D9"/>
      </a:accent6>
      <a:hlink>
        <a:srgbClr val="44A51C"/>
      </a:hlink>
      <a:folHlink>
        <a:srgbClr val="F9F206"/>
      </a:folHlink>
    </a:clrScheme>
    <a:fontScheme name="BLANK">
      <a:majorFont>
        <a:latin typeface="Nokia Large"/>
        <a:ea typeface=""/>
        <a:cs typeface=""/>
      </a:majorFont>
      <a:minorFont>
        <a:latin typeface="Nokia Sans Wi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BLANK">
  <a:themeElements>
    <a:clrScheme name="BLANK 1">
      <a:dk1>
        <a:srgbClr val="000000"/>
      </a:dk1>
      <a:lt1>
        <a:srgbClr val="FFFFFF"/>
      </a:lt1>
      <a:dk2>
        <a:srgbClr val="0033CC"/>
      </a:dk2>
      <a:lt2>
        <a:srgbClr val="808080"/>
      </a:lt2>
      <a:accent1>
        <a:srgbClr val="040477"/>
      </a:accent1>
      <a:accent2>
        <a:srgbClr val="AFD4F0"/>
      </a:accent2>
      <a:accent3>
        <a:srgbClr val="FFFFFF"/>
      </a:accent3>
      <a:accent4>
        <a:srgbClr val="000000"/>
      </a:accent4>
      <a:accent5>
        <a:srgbClr val="AAAABD"/>
      </a:accent5>
      <a:accent6>
        <a:srgbClr val="9EC0D9"/>
      </a:accent6>
      <a:hlink>
        <a:srgbClr val="44A51C"/>
      </a:hlink>
      <a:folHlink>
        <a:srgbClr val="F9F206"/>
      </a:folHlink>
    </a:clrScheme>
    <a:fontScheme name="BLANK">
      <a:majorFont>
        <a:latin typeface="Nokia Large"/>
        <a:ea typeface=""/>
        <a:cs typeface=""/>
      </a:majorFont>
      <a:minorFont>
        <a:latin typeface="Nokia Sans Wi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BLANK">
  <a:themeElements>
    <a:clrScheme name="BLANK 1">
      <a:dk1>
        <a:srgbClr val="000000"/>
      </a:dk1>
      <a:lt1>
        <a:srgbClr val="FFFFFF"/>
      </a:lt1>
      <a:dk2>
        <a:srgbClr val="0033CC"/>
      </a:dk2>
      <a:lt2>
        <a:srgbClr val="808080"/>
      </a:lt2>
      <a:accent1>
        <a:srgbClr val="040477"/>
      </a:accent1>
      <a:accent2>
        <a:srgbClr val="AFD4F0"/>
      </a:accent2>
      <a:accent3>
        <a:srgbClr val="FFFFFF"/>
      </a:accent3>
      <a:accent4>
        <a:srgbClr val="000000"/>
      </a:accent4>
      <a:accent5>
        <a:srgbClr val="AAAABD"/>
      </a:accent5>
      <a:accent6>
        <a:srgbClr val="9EC0D9"/>
      </a:accent6>
      <a:hlink>
        <a:srgbClr val="44A51C"/>
      </a:hlink>
      <a:folHlink>
        <a:srgbClr val="F9F206"/>
      </a:folHlink>
    </a:clrScheme>
    <a:fontScheme name="BLANK">
      <a:majorFont>
        <a:latin typeface="Nokia Large"/>
        <a:ea typeface=""/>
        <a:cs typeface=""/>
      </a:majorFont>
      <a:minorFont>
        <a:latin typeface="Nokia Sans Wi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BLANK">
  <a:themeElements>
    <a:clrScheme name="BLANK 1">
      <a:dk1>
        <a:srgbClr val="000000"/>
      </a:dk1>
      <a:lt1>
        <a:srgbClr val="FFFFFF"/>
      </a:lt1>
      <a:dk2>
        <a:srgbClr val="0033CC"/>
      </a:dk2>
      <a:lt2>
        <a:srgbClr val="808080"/>
      </a:lt2>
      <a:accent1>
        <a:srgbClr val="040477"/>
      </a:accent1>
      <a:accent2>
        <a:srgbClr val="AFD4F0"/>
      </a:accent2>
      <a:accent3>
        <a:srgbClr val="FFFFFF"/>
      </a:accent3>
      <a:accent4>
        <a:srgbClr val="000000"/>
      </a:accent4>
      <a:accent5>
        <a:srgbClr val="AAAABD"/>
      </a:accent5>
      <a:accent6>
        <a:srgbClr val="9EC0D9"/>
      </a:accent6>
      <a:hlink>
        <a:srgbClr val="44A51C"/>
      </a:hlink>
      <a:folHlink>
        <a:srgbClr val="F9F206"/>
      </a:folHlink>
    </a:clrScheme>
    <a:fontScheme name="BLANK">
      <a:majorFont>
        <a:latin typeface="Nokia Large"/>
        <a:ea typeface=""/>
        <a:cs typeface=""/>
      </a:majorFont>
      <a:minorFont>
        <a:latin typeface="Nokia Sans Wid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Custom Design">
  <a:themeElements>
    <a:clrScheme name="Nokia Corporate Colours 2011">
      <a:dk1>
        <a:srgbClr val="000000"/>
      </a:dk1>
      <a:lt1>
        <a:srgbClr val="FFFFFF"/>
      </a:lt1>
      <a:dk2>
        <a:srgbClr val="124191"/>
      </a:dk2>
      <a:lt2>
        <a:srgbClr val="808080"/>
      </a:lt2>
      <a:accent1>
        <a:srgbClr val="44A51C"/>
      </a:accent1>
      <a:accent2>
        <a:srgbClr val="040477"/>
      </a:accent2>
      <a:accent3>
        <a:srgbClr val="024C1C"/>
      </a:accent3>
      <a:accent4>
        <a:srgbClr val="E0DBCA"/>
      </a:accent4>
      <a:accent5>
        <a:srgbClr val="AFD4F0"/>
      </a:accent5>
      <a:accent6>
        <a:srgbClr val="F9F206"/>
      </a:accent6>
      <a:hlink>
        <a:srgbClr val="E40E62"/>
      </a:hlink>
      <a:folHlink>
        <a:srgbClr val="363534"/>
      </a:folHlink>
    </a:clrScheme>
    <a:fontScheme name="Custom Design">
      <a:majorFont>
        <a:latin typeface="Nokia Large"/>
        <a:ea typeface="ＭＳ Ｐゴシック"/>
        <a:cs typeface=""/>
      </a:majorFont>
      <a:minorFont>
        <a:latin typeface="Nokia Sans Wide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488" tIns="44450" rIns="90488" bIns="4445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100000"/>
          </a:lnSpc>
          <a:spcBef>
            <a:spcPct val="15000"/>
          </a:spcBef>
          <a:spcAft>
            <a:spcPct val="15000"/>
          </a:spcAft>
          <a:buClr>
            <a:schemeClr val="accent1"/>
          </a:buClr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Nokia Sans Wide" pitchFamily="34" charset="0"/>
            <a:ea typeface="ＭＳ Ｐゴシック" pitchFamily="34" charset="-128"/>
          </a:defRPr>
        </a:defPPr>
      </a:lstStyle>
    </a:ln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33CC"/>
        </a:dk2>
        <a:lt2>
          <a:srgbClr val="808080"/>
        </a:lt2>
        <a:accent1>
          <a:srgbClr val="040477"/>
        </a:accent1>
        <a:accent2>
          <a:srgbClr val="AFD4F0"/>
        </a:accent2>
        <a:accent3>
          <a:srgbClr val="FFFFFF"/>
        </a:accent3>
        <a:accent4>
          <a:srgbClr val="000000"/>
        </a:accent4>
        <a:accent5>
          <a:srgbClr val="AAAABD"/>
        </a:accent5>
        <a:accent6>
          <a:srgbClr val="9EC0D9"/>
        </a:accent6>
        <a:hlink>
          <a:srgbClr val="44A51C"/>
        </a:hlink>
        <a:folHlink>
          <a:srgbClr val="F9F20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48</TotalTime>
  <Words>310</Words>
  <Application>Microsoft Office PowerPoint</Application>
  <PresentationFormat>On-screen Show (4:3)</PresentationFormat>
  <Paragraphs>113</Paragraphs>
  <Slides>9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2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32" baseType="lpstr">
      <vt:lpstr>1_BLANK</vt:lpstr>
      <vt:lpstr>2_BLANK</vt:lpstr>
      <vt:lpstr>3_BLANK</vt:lpstr>
      <vt:lpstr>BLANK</vt:lpstr>
      <vt:lpstr>4_BLANK</vt:lpstr>
      <vt:lpstr>5_BLANK</vt:lpstr>
      <vt:lpstr>6_BLANK</vt:lpstr>
      <vt:lpstr>Custom Design</vt:lpstr>
      <vt:lpstr>3_Office Theme</vt:lpstr>
      <vt:lpstr>7_BLANK</vt:lpstr>
      <vt:lpstr>8_BLANK</vt:lpstr>
      <vt:lpstr>9_BLANK</vt:lpstr>
      <vt:lpstr>10_BLANK</vt:lpstr>
      <vt:lpstr>NOKIA_CF_NKG063</vt:lpstr>
      <vt:lpstr>Nokia_Brand_examplepres_v1.0</vt:lpstr>
      <vt:lpstr>5_Office Theme</vt:lpstr>
      <vt:lpstr>1_Custom Design</vt:lpstr>
      <vt:lpstr>11_BLANK</vt:lpstr>
      <vt:lpstr>6_Office Theme</vt:lpstr>
      <vt:lpstr>4_Office Theme</vt:lpstr>
      <vt:lpstr>1_Nokia_Brand_examplepres_v1.0</vt:lpstr>
      <vt:lpstr>Office Theme</vt:lpstr>
      <vt:lpstr>think-cell Slid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user</dc:creator>
  <cp:lastModifiedBy>esys</cp:lastModifiedBy>
  <cp:revision>1375</cp:revision>
  <cp:lastPrinted>2011-07-13T11:19:55Z</cp:lastPrinted>
  <dcterms:created xsi:type="dcterms:W3CDTF">2009-12-03T01:37:16Z</dcterms:created>
  <dcterms:modified xsi:type="dcterms:W3CDTF">2011-10-14T11:49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609762aa-afe1-4f16-ad1e-eca5a74ff7a9</vt:lpwstr>
  </property>
  <property fmtid="{D5CDD505-2E9C-101B-9397-08002B2CF9AE}" pid="3" name="NokiaConfidentiality">
    <vt:lpwstr>Company Confidential</vt:lpwstr>
  </property>
</Properties>
</file>